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17"/>
  </p:notesMasterIdLst>
  <p:sldIdLst>
    <p:sldId id="258" r:id="rId3"/>
    <p:sldId id="271" r:id="rId4"/>
    <p:sldId id="266" r:id="rId5"/>
    <p:sldId id="278" r:id="rId6"/>
    <p:sldId id="275" r:id="rId7"/>
    <p:sldId id="280" r:id="rId8"/>
    <p:sldId id="260" r:id="rId9"/>
    <p:sldId id="263" r:id="rId10"/>
    <p:sldId id="277" r:id="rId11"/>
    <p:sldId id="276" r:id="rId12"/>
    <p:sldId id="279" r:id="rId13"/>
    <p:sldId id="274" r:id="rId14"/>
    <p:sldId id="268" r:id="rId15"/>
    <p:sldId id="269" r:id="rId1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815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614B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167" autoAdjust="0"/>
  </p:normalViewPr>
  <p:slideViewPr>
    <p:cSldViewPr snapToGrid="0">
      <p:cViewPr varScale="1">
        <p:scale>
          <a:sx n="102" d="100"/>
          <a:sy n="102" d="100"/>
        </p:scale>
        <p:origin x="918" y="96"/>
      </p:cViewPr>
      <p:guideLst>
        <p:guide pos="4815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zh.shynybekova\Desktop\2018%20&#1056;&#1045;&#1047;&#1059;&#1051;&#1068;&#1058;&#1040;&#1058;&#1067;\&#1048;&#1058;&#1054;&#1043;&#1054;&#1042;&#1067;&#1049;%202%20&#1050;&#1042;\&#1092;&#1086;&#1088;&#1084;&#1072;%20&#1082;&#1072;&#1090;.%20&#1080;%20&#1089;&#1077;&#1088;&#1090;&#1080;&#1092;&#1080;&#1082;&#1072;&#1094;&#1080;&#1103;%20%20c%20%20%202%20%20%20&#1072;&#1087;&#1088;&#1077;&#1083;&#1103;%20%20&#1087;&#1086;%2025%20&#1084;&#1072;&#1103;%20%20&#1079;&#1072;%202%20&#1082;&#1074;&#1072;&#1088;&#1090;&#1072;&#1083;%20%20%202018%20%20&#1075;&#1086;&#1076;&#1072;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zh.shynybekova\Desktop\2018%20&#1056;&#1045;&#1047;&#1059;&#1051;&#1068;&#1058;&#1040;&#1058;&#1067;\&#1063;&#1040;&#1057;&#1067;%20&#1069;&#1050;&#1047;&#1040;&#1052;&#1045;&#1053;&#1040;&#1058;&#1040;&#1056;&#1054;&#1042;\&#1054;&#1090;&#1095;&#1077;&#1090;%20%20&#1087;&#1086;%20&#1082;&#1072;&#1090;&#1077;&#1075;&#1086;&#1088;&#1080;&#1080;%20%20&#1087;&#1086;%20&#1056;&#1050;%20%20&#1087;&#1086;%2012%20%20&#1084;&#1072;&#1088;&#1090;&#1072;%20%20%202018%20&#1075;&#1086;&#1076;&#1072;.xls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zh.shynybekova\Desktop\2018%20&#1056;&#1045;&#1047;&#1059;&#1051;&#1068;&#1058;&#1040;&#1058;&#1067;\&#1048;&#1058;&#1054;&#1043;&#1054;&#1042;&#1067;&#1049;%202%20&#1050;&#1042;\&#1057;&#1087;&#1080;&#1089;&#1086;&#1082;%20%20&#1086;&#1088;&#1075;&#1072;&#1085;&#1080;&#1079;&#1072;&#1094;&#1080;&#1081;%20%20&#1087;&#1086;%20&#1087;&#1086;&#1074;&#1099;&#1096;%20&#1082;&#1074;&#1072;&#1083;&#1080;&#1092;&#1080;&#1082;&#1072;&#1094;&#1080;&#1080;%20%20&#1089;&#1087;&#1077;&#1094;-&#1090;&#1086;&#1074;%201-2%20&#1101;&#1090;&#1072;&#1087;&#1072;%20&#1089;&#1074;&#1086;&#1076;%20&#1074;&#1088;&#1072;&#1095;&#1077;&#1081;%20&#1080;%20&#1089;&#1084;&#1088;.xls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r"/>
      <c:overlay val="0"/>
      <c:txPr>
        <a:bodyPr/>
        <a:lstStyle/>
        <a:p>
          <a:pPr>
            <a:defRPr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>
          <a:cs typeface="+mj-cs"/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2197334537525445E-2"/>
          <c:y val="2.3635474725954116E-2"/>
          <c:w val="0.97560533092494917"/>
          <c:h val="0.9480019556029009"/>
        </c:manualLayout>
      </c:layout>
      <c:pie3DChart>
        <c:varyColors val="1"/>
        <c:ser>
          <c:idx val="0"/>
          <c:order val="0"/>
          <c:explosion val="15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94000"/>
                      <a:satMod val="103000"/>
                      <a:lumMod val="102000"/>
                    </a:schemeClr>
                  </a:gs>
                  <a:gs pos="50000">
                    <a:schemeClr val="accent1">
                      <a:shade val="100000"/>
                      <a:satMod val="110000"/>
                      <a:lumMod val="100000"/>
                    </a:schemeClr>
                  </a:gs>
                  <a:gs pos="100000">
                    <a:schemeClr val="accent1">
                      <a:shade val="78000"/>
                      <a:satMod val="12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4A93-4817-82D1-96B0E3F5DD90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94000"/>
                      <a:satMod val="103000"/>
                      <a:lumMod val="102000"/>
                    </a:schemeClr>
                  </a:gs>
                  <a:gs pos="50000">
                    <a:schemeClr val="accent2">
                      <a:shade val="100000"/>
                      <a:satMod val="110000"/>
                      <a:lumMod val="100000"/>
                    </a:schemeClr>
                  </a:gs>
                  <a:gs pos="100000">
                    <a:schemeClr val="accent2">
                      <a:shade val="78000"/>
                      <a:satMod val="12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4A93-4817-82D1-96B0E3F5DD90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tint val="94000"/>
                      <a:satMod val="103000"/>
                      <a:lumMod val="102000"/>
                    </a:schemeClr>
                  </a:gs>
                  <a:gs pos="50000">
                    <a:schemeClr val="accent3">
                      <a:shade val="100000"/>
                      <a:satMod val="110000"/>
                      <a:lumMod val="100000"/>
                    </a:schemeClr>
                  </a:gs>
                  <a:gs pos="100000">
                    <a:schemeClr val="accent3">
                      <a:shade val="78000"/>
                      <a:satMod val="12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4A93-4817-82D1-96B0E3F5DD90}"/>
              </c:ext>
            </c:extLst>
          </c:dPt>
          <c:dPt>
            <c:idx val="3"/>
            <c:bubble3D val="0"/>
            <c:explosion val="16"/>
            <c:spPr>
              <a:gradFill rotWithShape="1">
                <a:gsLst>
                  <a:gs pos="0">
                    <a:schemeClr val="accent4">
                      <a:tint val="94000"/>
                      <a:satMod val="103000"/>
                      <a:lumMod val="102000"/>
                    </a:schemeClr>
                  </a:gs>
                  <a:gs pos="50000">
                    <a:schemeClr val="accent4">
                      <a:shade val="100000"/>
                      <a:satMod val="110000"/>
                      <a:lumMod val="100000"/>
                    </a:schemeClr>
                  </a:gs>
                  <a:gs pos="100000">
                    <a:schemeClr val="accent4">
                      <a:shade val="78000"/>
                      <a:satMod val="12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4A93-4817-82D1-96B0E3F5DD90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tint val="94000"/>
                      <a:satMod val="103000"/>
                      <a:lumMod val="102000"/>
                    </a:schemeClr>
                  </a:gs>
                  <a:gs pos="50000">
                    <a:schemeClr val="accent5">
                      <a:shade val="100000"/>
                      <a:satMod val="110000"/>
                      <a:lumMod val="100000"/>
                    </a:schemeClr>
                  </a:gs>
                  <a:gs pos="100000">
                    <a:schemeClr val="accent5">
                      <a:shade val="78000"/>
                      <a:satMod val="12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4A93-4817-82D1-96B0E3F5DD90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tint val="94000"/>
                      <a:satMod val="103000"/>
                      <a:lumMod val="102000"/>
                    </a:schemeClr>
                  </a:gs>
                  <a:gs pos="50000">
                    <a:schemeClr val="accent6">
                      <a:shade val="100000"/>
                      <a:satMod val="110000"/>
                      <a:lumMod val="100000"/>
                    </a:schemeClr>
                  </a:gs>
                  <a:gs pos="100000">
                    <a:schemeClr val="accent6">
                      <a:shade val="78000"/>
                      <a:satMod val="12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4A93-4817-82D1-96B0E3F5DD90}"/>
              </c:ext>
            </c:extLst>
          </c:dPt>
          <c:dPt>
            <c:idx val="6"/>
            <c:bubble3D val="0"/>
            <c:spPr>
              <a:gradFill rotWithShape="1">
                <a:gsLst>
                  <a:gs pos="0">
                    <a:schemeClr val="accent1">
                      <a:lumMod val="60000"/>
                      <a:tint val="94000"/>
                      <a:satMod val="103000"/>
                      <a:lumMod val="102000"/>
                    </a:schemeClr>
                  </a:gs>
                  <a:gs pos="50000">
                    <a:schemeClr val="accent1">
                      <a:lumMod val="60000"/>
                      <a:shade val="100000"/>
                      <a:satMod val="110000"/>
                      <a:lumMod val="100000"/>
                    </a:schemeClr>
                  </a:gs>
                  <a:gs pos="100000">
                    <a:schemeClr val="accent1">
                      <a:lumMod val="60000"/>
                      <a:shade val="78000"/>
                      <a:satMod val="120000"/>
                      <a:lumMod val="99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4A93-4817-82D1-96B0E3F5DD90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ru-RU" b="1" baseline="0" dirty="0" smtClean="0">
                        <a:solidFill>
                          <a:schemeClr val="tx1"/>
                        </a:solidFill>
                      </a:rPr>
                      <a:t> Лабораторная диагностика 42 %  </a:t>
                    </a:r>
                    <a:endParaRPr lang="ru-RU" b="1" baseline="0" dirty="0">
                      <a:solidFill>
                        <a:schemeClr val="tx1"/>
                      </a:solidFill>
                    </a:endParaRP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A93-4817-82D1-96B0E3F5DD90}"/>
                </c:ext>
              </c:extLst>
            </c:dLbl>
            <c:dLbl>
              <c:idx val="1"/>
              <c:layout>
                <c:manualLayout>
                  <c:x val="-0.12647148591480675"/>
                  <c:y val="-0.17404199966869527"/>
                </c:manualLayout>
              </c:layout>
              <c:tx>
                <c:rich>
                  <a:bodyPr/>
                  <a:lstStyle/>
                  <a:p>
                    <a:fld id="{0919290B-D90A-4BB4-B600-49650634A8FF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; </a:t>
                    </a:r>
                    <a:fld id="{A23EE65A-04E6-45D7-99E8-7D64DE368A8D}" type="VALUE">
                      <a:rPr lang="ru-RU" baseline="0"/>
                      <a:pPr/>
                      <a:t>[ЗНАЧЕНИЕ]</a:t>
                    </a:fld>
                    <a:r>
                      <a:rPr lang="ru-RU" baseline="0" dirty="0"/>
                      <a:t>; 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A93-4817-82D1-96B0E3F5DD90}"/>
                </c:ext>
              </c:extLst>
            </c:dLbl>
            <c:dLbl>
              <c:idx val="2"/>
              <c:layout>
                <c:manualLayout>
                  <c:x val="-0.13118676910258231"/>
                  <c:y val="-0.32282710202546738"/>
                </c:manualLayout>
              </c:layout>
              <c:tx>
                <c:rich>
                  <a:bodyPr/>
                  <a:lstStyle/>
                  <a:p>
                    <a:fld id="{94EA4355-8DDE-4D02-8097-8E7D3623DF0F}" type="CATEGORYNAME">
                      <a:rPr lang="ru-RU" b="1">
                        <a:solidFill>
                          <a:schemeClr val="tx1"/>
                        </a:solidFill>
                      </a:rPr>
                      <a:pPr/>
                      <a:t>[ИМЯ КАТЕГОРИИ]</a:t>
                    </a:fld>
                    <a:r>
                      <a:rPr lang="ru-RU" b="1" baseline="0" dirty="0">
                        <a:solidFill>
                          <a:schemeClr val="tx1"/>
                        </a:solidFill>
                      </a:rPr>
                      <a:t>; </a:t>
                    </a:r>
                    <a:fld id="{398D79C4-C229-410F-B045-A8968D15BFAC}" type="VALUE">
                      <a:rPr lang="ru-RU" b="1" baseline="0">
                        <a:solidFill>
                          <a:schemeClr val="tx1"/>
                        </a:solidFill>
                      </a:rPr>
                      <a:pPr/>
                      <a:t>[ЗНАЧЕНИЕ]</a:t>
                    </a:fld>
                    <a:r>
                      <a:rPr lang="ru-RU" b="1" baseline="0" dirty="0">
                        <a:solidFill>
                          <a:schemeClr val="tx1"/>
                        </a:solidFill>
                      </a:rPr>
                      <a:t>; 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A93-4817-82D1-96B0E3F5DD90}"/>
                </c:ext>
              </c:extLst>
            </c:dLbl>
            <c:dLbl>
              <c:idx val="3"/>
              <c:layout>
                <c:manualLayout>
                  <c:x val="0.16748926158236291"/>
                  <c:y val="-0.28169737583192556"/>
                </c:manualLayout>
              </c:layout>
              <c:tx>
                <c:rich>
                  <a:bodyPr/>
                  <a:lstStyle/>
                  <a:p>
                    <a:fld id="{FEA26625-A140-44F5-AABC-B20D608A2EB3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; </a:t>
                    </a:r>
                    <a:fld id="{7D0B5057-3EEA-4A86-A6F8-9B0DC27BEC2F}" type="VALUE">
                      <a:rPr lang="ru-RU" baseline="0"/>
                      <a:pPr/>
                      <a:t>[ЗНАЧЕНИЕ]</a:t>
                    </a:fld>
                    <a:r>
                      <a:rPr lang="ru-RU" baseline="0" dirty="0"/>
                      <a:t>; 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4A93-4817-82D1-96B0E3F5DD90}"/>
                </c:ext>
              </c:extLst>
            </c:dLbl>
            <c:dLbl>
              <c:idx val="4"/>
              <c:layout>
                <c:manualLayout>
                  <c:x val="0.10146530034915886"/>
                  <c:y val="-0.18944695434214368"/>
                </c:manualLayout>
              </c:layout>
              <c:tx>
                <c:rich>
                  <a:bodyPr/>
                  <a:lstStyle/>
                  <a:p>
                    <a:fld id="{5EBC3DE6-02B2-4A95-824D-95828320256B}" type="CATEGORYNAME">
                      <a:rPr lang="ru-RU"/>
                      <a:pPr/>
                      <a:t>[ИМЯ КАТЕГОРИИ]</a:t>
                    </a:fld>
                    <a:r>
                      <a:rPr lang="ru-RU" baseline="0" dirty="0"/>
                      <a:t>; </a:t>
                    </a:r>
                    <a:fld id="{A127285D-83D5-4ECD-AE09-5D50A3A186FB}" type="VALUE">
                      <a:rPr lang="ru-RU" baseline="0"/>
                      <a:pPr/>
                      <a:t>[ЗНАЧЕНИЕ]</a:t>
                    </a:fld>
                    <a:r>
                      <a:rPr lang="ru-RU" baseline="0" dirty="0"/>
                      <a:t>; 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4A93-4817-82D1-96B0E3F5DD90}"/>
                </c:ext>
              </c:extLst>
            </c:dLbl>
            <c:dLbl>
              <c:idx val="5"/>
              <c:layout>
                <c:manualLayout>
                  <c:x val="0.15947342291760805"/>
                  <c:y val="4.2882305308581566E-2"/>
                </c:manualLayout>
              </c:layout>
              <c:tx>
                <c:rich>
                  <a:bodyPr/>
                  <a:lstStyle/>
                  <a:p>
                    <a:r>
                      <a:rPr lang="ru-RU" baseline="0" dirty="0" smtClean="0"/>
                      <a:t>Сестринское дело, 42 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A93-4817-82D1-96B0E3F5DD90}"/>
                </c:ext>
              </c:extLst>
            </c:dLbl>
            <c:dLbl>
              <c:idx val="6"/>
              <c:layout>
                <c:manualLayout>
                  <c:x val="0.1374359618526439"/>
                  <c:y val="1.0980863429683822E-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b="1" baseline="0" dirty="0" smtClean="0"/>
                      <a:t>Специалисты со средним </a:t>
                    </a:r>
                    <a:r>
                      <a:rPr lang="ru-RU" b="1" baseline="0" dirty="0" err="1" smtClean="0"/>
                      <a:t>фарм</a:t>
                    </a:r>
                    <a:r>
                      <a:rPr lang="ru-RU" b="1" baseline="0" dirty="0" smtClean="0"/>
                      <a:t> образованием, 11 %</a:t>
                    </a:r>
                    <a:endParaRPr lang="ru-RU" b="1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6113175244008958"/>
                      <c:h val="5.284738181077072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4A93-4817-82D1-96B0E3F5DD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H$4:$H$10</c:f>
              <c:strCache>
                <c:ptCount val="7"/>
                <c:pt idx="0">
                  <c:v>Лабораторная диагностика</c:v>
                </c:pt>
                <c:pt idx="1">
                  <c:v>Лечебное дело</c:v>
                </c:pt>
                <c:pt idx="2">
                  <c:v>Акушерское дело</c:v>
                </c:pt>
                <c:pt idx="3">
                  <c:v>Гигиена и эпидемиология</c:v>
                </c:pt>
                <c:pt idx="4">
                  <c:v>Стоматология</c:v>
                </c:pt>
                <c:pt idx="5">
                  <c:v>Сестринское дело</c:v>
                </c:pt>
                <c:pt idx="6">
                  <c:v>Специалисты со средним фармацевтическим образованием</c:v>
                </c:pt>
              </c:strCache>
            </c:strRef>
          </c:cat>
          <c:val>
            <c:numRef>
              <c:f>Лист1!$I$4:$I$10</c:f>
              <c:numCache>
                <c:formatCode>0%</c:formatCode>
                <c:ptCount val="7"/>
                <c:pt idx="0">
                  <c:v>0.42</c:v>
                </c:pt>
                <c:pt idx="1">
                  <c:v>0.37</c:v>
                </c:pt>
                <c:pt idx="2">
                  <c:v>0.39</c:v>
                </c:pt>
                <c:pt idx="3">
                  <c:v>0.36</c:v>
                </c:pt>
                <c:pt idx="4">
                  <c:v>0.23</c:v>
                </c:pt>
                <c:pt idx="5">
                  <c:v>0.42</c:v>
                </c:pt>
                <c:pt idx="6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A93-4817-82D1-96B0E3F5DD90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1"/>
          <c:order val="1"/>
          <c:tx>
            <c:strRef>
              <c:f>Лист1!$T$1</c:f>
              <c:strCache>
                <c:ptCount val="1"/>
                <c:pt idx="0">
                  <c:v>Подтверждено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0"/>
                  <c:y val="-5.65876838328541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475D-48C7-8E2C-B9B32E3680D2}"/>
                </c:ext>
              </c:extLst>
            </c:dLbl>
            <c:dLbl>
              <c:idx val="1"/>
              <c:layout>
                <c:manualLayout>
                  <c:x val="3.9589937004506907E-2"/>
                  <c:y val="-4.78818863201073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475D-48C7-8E2C-B9B32E3680D2}"/>
                </c:ext>
              </c:extLst>
            </c:dLbl>
            <c:dLbl>
              <c:idx val="2"/>
              <c:layout>
                <c:manualLayout>
                  <c:x val="9.3152792951780115E-3"/>
                  <c:y val="-6.09405825892275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75D-48C7-8E2C-B9B32E3680D2}"/>
                </c:ext>
              </c:extLst>
            </c:dLbl>
            <c:dLbl>
              <c:idx val="3"/>
              <c:layout>
                <c:manualLayout>
                  <c:x val="-2.3288198237945241E-3"/>
                  <c:y val="-6.96463801019744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475D-48C7-8E2C-B9B32E3680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R$2:$R$5</c:f>
              <c:strCache>
                <c:ptCount val="4"/>
                <c:pt idx="0">
                  <c:v> 2015 год  (4 кв)</c:v>
                </c:pt>
                <c:pt idx="1">
                  <c:v> 2016 год</c:v>
                </c:pt>
                <c:pt idx="2">
                  <c:v>2017 год</c:v>
                </c:pt>
                <c:pt idx="3">
                  <c:v>  2018 год  (1 кв)</c:v>
                </c:pt>
              </c:strCache>
            </c:strRef>
          </c:cat>
          <c:val>
            <c:numRef>
              <c:f>Лист1!$T$2:$T$5</c:f>
              <c:numCache>
                <c:formatCode>0.0%</c:formatCode>
                <c:ptCount val="4"/>
                <c:pt idx="0">
                  <c:v>0.40400000000000003</c:v>
                </c:pt>
                <c:pt idx="1">
                  <c:v>0.60699999999999998</c:v>
                </c:pt>
                <c:pt idx="2">
                  <c:v>0.63300000000000001</c:v>
                </c:pt>
                <c:pt idx="3">
                  <c:v>0.4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16-46BC-B5E4-F6AD33AA6791}"/>
            </c:ext>
          </c:extLst>
        </c:ser>
        <c:ser>
          <c:idx val="2"/>
          <c:order val="2"/>
          <c:tx>
            <c:strRef>
              <c:f>Лист1!$U$1</c:f>
              <c:strCache>
                <c:ptCount val="1"/>
                <c:pt idx="0">
                  <c:v>не подтверждено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1.3972918942767145E-2"/>
                  <c:y val="-4.78818863201073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475D-48C7-8E2C-B9B32E3680D2}"/>
                </c:ext>
              </c:extLst>
            </c:dLbl>
            <c:dLbl>
              <c:idx val="1"/>
              <c:layout>
                <c:manualLayout>
                  <c:x val="9.3152792951780965E-3"/>
                  <c:y val="-6.52934813456010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475D-48C7-8E2C-B9B32E3680D2}"/>
                </c:ext>
              </c:extLst>
            </c:dLbl>
            <c:dLbl>
              <c:idx val="2"/>
              <c:layout>
                <c:manualLayout>
                  <c:x val="9.3152792951780965E-3"/>
                  <c:y val="-4.78818863201074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475D-48C7-8E2C-B9B32E3680D2}"/>
                </c:ext>
              </c:extLst>
            </c:dLbl>
            <c:dLbl>
              <c:idx val="3"/>
              <c:layout>
                <c:manualLayout>
                  <c:x val="5.822049559486139E-3"/>
                  <c:y val="-4.78818863201073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475D-48C7-8E2C-B9B32E3680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R$2:$R$5</c:f>
              <c:strCache>
                <c:ptCount val="4"/>
                <c:pt idx="0">
                  <c:v> 2015 год  (4 кв)</c:v>
                </c:pt>
                <c:pt idx="1">
                  <c:v> 2016 год</c:v>
                </c:pt>
                <c:pt idx="2">
                  <c:v>2017 год</c:v>
                </c:pt>
                <c:pt idx="3">
                  <c:v>  2018 год  (1 кв)</c:v>
                </c:pt>
              </c:strCache>
            </c:strRef>
          </c:cat>
          <c:val>
            <c:numRef>
              <c:f>Лист1!$U$2:$U$5</c:f>
              <c:numCache>
                <c:formatCode>0.0%</c:formatCode>
                <c:ptCount val="4"/>
                <c:pt idx="0">
                  <c:v>0.59599999999999997</c:v>
                </c:pt>
                <c:pt idx="1">
                  <c:v>0.39300000000000002</c:v>
                </c:pt>
                <c:pt idx="2">
                  <c:v>0.36699999999999999</c:v>
                </c:pt>
                <c:pt idx="3">
                  <c:v>0.566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16-46BC-B5E4-F6AD33AA67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853028447"/>
        <c:axId val="853028863"/>
        <c:axId val="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Лист1!$S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  <a:sp3d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Лист1!$R$2:$R$5</c15:sqref>
                        </c15:formulaRef>
                      </c:ext>
                    </c:extLst>
                    <c:strCache>
                      <c:ptCount val="4"/>
                      <c:pt idx="0">
                        <c:v> 2015 год  (4 кв)</c:v>
                      </c:pt>
                      <c:pt idx="1">
                        <c:v> 2016 год</c:v>
                      </c:pt>
                      <c:pt idx="2">
                        <c:v>2017 год</c:v>
                      </c:pt>
                      <c:pt idx="3">
                        <c:v>  2018 год  (1 кв)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Лист1!$S$2:$S$5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6B16-46BC-B5E4-F6AD33AA6791}"/>
                  </c:ext>
                </c:extLst>
              </c15:ser>
            </c15:filteredBarSeries>
          </c:ext>
        </c:extLst>
      </c:bar3DChart>
      <c:catAx>
        <c:axId val="8530284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53028863"/>
        <c:crosses val="autoZero"/>
        <c:auto val="1"/>
        <c:lblAlgn val="ctr"/>
        <c:lblOffset val="100"/>
        <c:noMultiLvlLbl val="0"/>
      </c:catAx>
      <c:valAx>
        <c:axId val="8530288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5302844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668164330917828"/>
          <c:y val="0.86647920003026369"/>
          <c:w val="0.30663662209034076"/>
          <c:h val="0.109499010125720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G$3</c:f>
              <c:strCache>
                <c:ptCount val="1"/>
                <c:pt idx="0">
                  <c:v>Подтверждено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1.2251999511849467E-3"/>
                  <c:y val="-6.255538955791034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81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C39-4D14-BFD2-6A5A7A664E6D}"/>
                </c:ext>
              </c:extLst>
            </c:dLbl>
            <c:dLbl>
              <c:idx val="1"/>
              <c:layout>
                <c:manualLayout>
                  <c:x val="4.9007998047397869E-3"/>
                  <c:y val="-6.255538955791034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80,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C39-4D14-BFD2-6A5A7A664E6D}"/>
                </c:ext>
              </c:extLst>
            </c:dLbl>
            <c:dLbl>
              <c:idx val="2"/>
              <c:layout>
                <c:manualLayout>
                  <c:x val="3.6755998535548404E-3"/>
                  <c:y val="-7.69912486866588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C39-4D14-BFD2-6A5A7A664E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F$4:$F$6</c:f>
              <c:strCache>
                <c:ptCount val="3"/>
                <c:pt idx="0">
                  <c:v> 2016 год</c:v>
                </c:pt>
                <c:pt idx="1">
                  <c:v>2017 год</c:v>
                </c:pt>
                <c:pt idx="2">
                  <c:v>1 кв 2018 года</c:v>
                </c:pt>
              </c:strCache>
            </c:strRef>
          </c:cat>
          <c:val>
            <c:numRef>
              <c:f>Лист1!$G$4:$G$6</c:f>
              <c:numCache>
                <c:formatCode>0.0%</c:formatCode>
                <c:ptCount val="3"/>
                <c:pt idx="0">
                  <c:v>0.8</c:v>
                </c:pt>
                <c:pt idx="1">
                  <c:v>0.79500000000000004</c:v>
                </c:pt>
                <c:pt idx="2">
                  <c:v>0.698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E2-449E-81D3-74FDA9709F17}"/>
            </c:ext>
          </c:extLst>
        </c:ser>
        <c:ser>
          <c:idx val="1"/>
          <c:order val="1"/>
          <c:tx>
            <c:strRef>
              <c:f>Лист1!$H$3</c:f>
              <c:strCache>
                <c:ptCount val="1"/>
                <c:pt idx="0">
                  <c:v>не подтверждено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1.347719946303437E-2"/>
                  <c:y val="-8.180320172957505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9</a:t>
                    </a:r>
                    <a:r>
                      <a:rPr lang="en-US" baseline="0" dirty="0" smtClean="0"/>
                      <a:t>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C39-4D14-BFD2-6A5A7A664E6D}"/>
                </c:ext>
              </c:extLst>
            </c:dLbl>
            <c:dLbl>
              <c:idx val="1"/>
              <c:layout>
                <c:manualLayout>
                  <c:x val="1.3477199463034325E-2"/>
                  <c:y val="-9.6239060858323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C39-4D14-BFD2-6A5A7A664E6D}"/>
                </c:ext>
              </c:extLst>
            </c:dLbl>
            <c:dLbl>
              <c:idx val="2"/>
              <c:layout>
                <c:manualLayout>
                  <c:x val="2.5729198974883793E-2"/>
                  <c:y val="-6.73673426008265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C39-4D14-BFD2-6A5A7A664E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F$4:$F$6</c:f>
              <c:strCache>
                <c:ptCount val="3"/>
                <c:pt idx="0">
                  <c:v> 2016 год</c:v>
                </c:pt>
                <c:pt idx="1">
                  <c:v>2017 год</c:v>
                </c:pt>
                <c:pt idx="2">
                  <c:v>1 кв 2018 года</c:v>
                </c:pt>
              </c:strCache>
            </c:strRef>
          </c:cat>
          <c:val>
            <c:numRef>
              <c:f>Лист1!$H$4:$H$6</c:f>
              <c:numCache>
                <c:formatCode>0.0%</c:formatCode>
                <c:ptCount val="3"/>
                <c:pt idx="0">
                  <c:v>0.2</c:v>
                </c:pt>
                <c:pt idx="1">
                  <c:v>0.19500000000000001</c:v>
                </c:pt>
                <c:pt idx="2">
                  <c:v>0.300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E2-449E-81D3-74FDA9709F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907224495"/>
        <c:axId val="907221583"/>
        <c:axId val="0"/>
      </c:bar3DChart>
      <c:catAx>
        <c:axId val="9072244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907221583"/>
        <c:crosses val="autoZero"/>
        <c:auto val="1"/>
        <c:lblAlgn val="ctr"/>
        <c:lblOffset val="100"/>
        <c:noMultiLvlLbl val="0"/>
      </c:catAx>
      <c:valAx>
        <c:axId val="9072215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072244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6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E2BF2A-AB1F-4349-B41A-CCA79B694D48}" type="doc">
      <dgm:prSet loTypeId="urn:microsoft.com/office/officeart/2005/8/layout/chevron1" loCatId="process" qsTypeId="urn:microsoft.com/office/officeart/2005/8/quickstyle/simple2" qsCatId="simple" csTypeId="urn:microsoft.com/office/officeart/2005/8/colors/accent1_1" csCatId="accent1" phldr="1"/>
      <dgm:spPr/>
    </dgm:pt>
    <dgm:pt modelId="{AB9AA176-9E98-408F-9377-750C96986A26}">
      <dgm:prSet phldrT="[Текст]" custT="1"/>
      <dgm:spPr/>
      <dgm:t>
        <a:bodyPr/>
        <a:lstStyle/>
        <a:p>
          <a:r>
            <a:rPr lang="ru-RU" sz="2000" b="0" i="0" cap="none" spc="150" dirty="0" smtClean="0">
              <a:ln w="11430"/>
              <a:solidFill>
                <a:schemeClr val="accent5">
                  <a:lumMod val="50000"/>
                </a:schemeClr>
              </a:solidFill>
              <a:effectLst/>
              <a:latin typeface="+mn-lt"/>
            </a:rPr>
            <a:t>2005-2014гг</a:t>
          </a:r>
          <a:r>
            <a:rPr lang="ru-RU" sz="2000" b="0" i="0" cap="none" spc="150" dirty="0" smtClean="0">
              <a:ln w="11430"/>
              <a:effectLst/>
              <a:latin typeface="+mn-lt"/>
            </a:rPr>
            <a:t>.</a:t>
          </a:r>
          <a:endParaRPr lang="ru-RU" sz="2000" b="0" i="0" cap="none" spc="150" dirty="0">
            <a:ln w="11430"/>
            <a:effectLst/>
            <a:latin typeface="+mn-lt"/>
          </a:endParaRPr>
        </a:p>
      </dgm:t>
    </dgm:pt>
    <dgm:pt modelId="{B2EAF2AE-05EC-448E-ADD3-3A92D3E77EEB}" type="parTrans" cxnId="{F3F2218E-6598-4787-8FDF-658FD27B586B}">
      <dgm:prSet/>
      <dgm:spPr/>
      <dgm:t>
        <a:bodyPr/>
        <a:lstStyle/>
        <a:p>
          <a:endParaRPr lang="ru-RU" sz="2000" b="0" i="0">
            <a:solidFill>
              <a:srgbClr val="000000"/>
            </a:solidFill>
            <a:latin typeface="+mn-lt"/>
          </a:endParaRPr>
        </a:p>
      </dgm:t>
    </dgm:pt>
    <dgm:pt modelId="{29678396-CA39-4527-B41F-24BB73D09303}" type="sibTrans" cxnId="{F3F2218E-6598-4787-8FDF-658FD27B586B}">
      <dgm:prSet/>
      <dgm:spPr/>
      <dgm:t>
        <a:bodyPr/>
        <a:lstStyle/>
        <a:p>
          <a:endParaRPr lang="ru-RU" sz="2000" b="0" i="0">
            <a:solidFill>
              <a:srgbClr val="000000"/>
            </a:solidFill>
            <a:latin typeface="+mn-lt"/>
          </a:endParaRPr>
        </a:p>
      </dgm:t>
    </dgm:pt>
    <dgm:pt modelId="{3B02FC72-B525-4B4A-9720-4E4EF08A2775}">
      <dgm:prSet phldrT="[Текст]" custT="1"/>
      <dgm:spPr/>
      <dgm:t>
        <a:bodyPr/>
        <a:lstStyle/>
        <a:p>
          <a:r>
            <a:rPr lang="ru-RU" sz="2000" b="0" i="0" cap="none" spc="150" dirty="0" smtClean="0">
              <a:ln w="11430"/>
              <a:effectLst/>
              <a:latin typeface="+mn-lt"/>
            </a:rPr>
            <a:t>2016г.</a:t>
          </a:r>
          <a:endParaRPr lang="ru-RU" sz="2000" b="0" i="0" cap="none" spc="150" dirty="0">
            <a:ln w="11430"/>
            <a:effectLst/>
            <a:latin typeface="+mn-lt"/>
          </a:endParaRPr>
        </a:p>
      </dgm:t>
    </dgm:pt>
    <dgm:pt modelId="{F8989356-2EA4-48BC-B94A-CC9E4EE9CE1A}" type="parTrans" cxnId="{DABE3ECF-D0DB-4502-B567-C43E0F2893DF}">
      <dgm:prSet/>
      <dgm:spPr/>
      <dgm:t>
        <a:bodyPr/>
        <a:lstStyle/>
        <a:p>
          <a:endParaRPr lang="ru-RU" sz="2000" b="0" i="0">
            <a:solidFill>
              <a:srgbClr val="000000"/>
            </a:solidFill>
            <a:latin typeface="+mn-lt"/>
          </a:endParaRPr>
        </a:p>
      </dgm:t>
    </dgm:pt>
    <dgm:pt modelId="{D1B6EE04-9661-4DE7-B2C3-5B838B4342AF}" type="sibTrans" cxnId="{DABE3ECF-D0DB-4502-B567-C43E0F2893DF}">
      <dgm:prSet/>
      <dgm:spPr/>
      <dgm:t>
        <a:bodyPr/>
        <a:lstStyle/>
        <a:p>
          <a:endParaRPr lang="ru-RU" sz="2000" b="0" i="0">
            <a:solidFill>
              <a:srgbClr val="000000"/>
            </a:solidFill>
            <a:latin typeface="+mn-lt"/>
          </a:endParaRPr>
        </a:p>
      </dgm:t>
    </dgm:pt>
    <dgm:pt modelId="{3520B287-8394-4CFD-BF82-4840DF251C68}">
      <dgm:prSet phldrT="[Текст]" custT="1"/>
      <dgm:spPr/>
      <dgm:t>
        <a:bodyPr/>
        <a:lstStyle/>
        <a:p>
          <a:r>
            <a:rPr lang="ru-RU" sz="2000" b="0" i="0" cap="none" spc="150" dirty="0" smtClean="0">
              <a:ln w="11430"/>
              <a:solidFill>
                <a:srgbClr val="FF0000"/>
              </a:solidFill>
              <a:effectLst/>
              <a:latin typeface="+mn-lt"/>
            </a:rPr>
            <a:t>2012-2015гг.</a:t>
          </a:r>
          <a:endParaRPr lang="ru-RU" sz="2000" b="0" i="0" cap="none" spc="150" dirty="0">
            <a:ln w="11430"/>
            <a:solidFill>
              <a:srgbClr val="FF0000"/>
            </a:solidFill>
            <a:effectLst/>
            <a:latin typeface="+mn-lt"/>
          </a:endParaRPr>
        </a:p>
      </dgm:t>
    </dgm:pt>
    <dgm:pt modelId="{93DAD04C-F255-4999-A47F-A3CCF04FF7AD}" type="sibTrans" cxnId="{3B14343E-C7A4-4589-BB90-883D30FB8971}">
      <dgm:prSet/>
      <dgm:spPr/>
      <dgm:t>
        <a:bodyPr/>
        <a:lstStyle/>
        <a:p>
          <a:endParaRPr lang="ru-RU" sz="2000" b="0" i="0">
            <a:solidFill>
              <a:srgbClr val="000000"/>
            </a:solidFill>
            <a:latin typeface="+mn-lt"/>
          </a:endParaRPr>
        </a:p>
      </dgm:t>
    </dgm:pt>
    <dgm:pt modelId="{4D81E096-DD6C-49F9-ACE2-C6EB7B5DADCD}" type="parTrans" cxnId="{3B14343E-C7A4-4589-BB90-883D30FB8971}">
      <dgm:prSet/>
      <dgm:spPr/>
      <dgm:t>
        <a:bodyPr/>
        <a:lstStyle/>
        <a:p>
          <a:endParaRPr lang="ru-RU" sz="2000" b="0" i="0">
            <a:solidFill>
              <a:srgbClr val="000000"/>
            </a:solidFill>
            <a:latin typeface="+mn-lt"/>
          </a:endParaRPr>
        </a:p>
      </dgm:t>
    </dgm:pt>
    <dgm:pt modelId="{9D306398-0B83-40ED-8969-911B368B38E9}">
      <dgm:prSet phldrT="[Текст]" custT="1"/>
      <dgm:spPr/>
      <dgm:t>
        <a:bodyPr/>
        <a:lstStyle/>
        <a:p>
          <a:r>
            <a:rPr lang="ru-RU" sz="2000" b="0" i="0" cap="none" spc="150" dirty="0" smtClean="0">
              <a:ln w="11430"/>
              <a:effectLst/>
              <a:latin typeface="+mn-lt"/>
            </a:rPr>
            <a:t>2017 г.</a:t>
          </a:r>
          <a:endParaRPr lang="ru-RU" sz="2000" b="0" i="0" cap="none" spc="150" dirty="0">
            <a:ln w="11430"/>
            <a:effectLst/>
            <a:latin typeface="+mn-lt"/>
          </a:endParaRPr>
        </a:p>
      </dgm:t>
    </dgm:pt>
    <dgm:pt modelId="{36099905-2B2B-46AD-B0F4-64052208C64F}" type="parTrans" cxnId="{D9BB98E0-1736-4F17-83C2-67C5457AB138}">
      <dgm:prSet/>
      <dgm:spPr/>
      <dgm:t>
        <a:bodyPr/>
        <a:lstStyle/>
        <a:p>
          <a:endParaRPr lang="ru-RU"/>
        </a:p>
      </dgm:t>
    </dgm:pt>
    <dgm:pt modelId="{FAA605F4-BDC8-49B1-9AC3-A64F5C68E4F2}" type="sibTrans" cxnId="{D9BB98E0-1736-4F17-83C2-67C5457AB138}">
      <dgm:prSet/>
      <dgm:spPr/>
      <dgm:t>
        <a:bodyPr/>
        <a:lstStyle/>
        <a:p>
          <a:endParaRPr lang="ru-RU"/>
        </a:p>
      </dgm:t>
    </dgm:pt>
    <dgm:pt modelId="{56B4CF61-84E2-4CD8-AD8B-C51E33AFD0C4}">
      <dgm:prSet phldrT="[Текст]" custT="1"/>
      <dgm:spPr/>
      <dgm:t>
        <a:bodyPr/>
        <a:lstStyle/>
        <a:p>
          <a:r>
            <a:rPr lang="ru-RU" sz="2000" b="0" i="0" cap="none" spc="150" dirty="0" smtClean="0">
              <a:ln w="11430"/>
              <a:effectLst/>
              <a:latin typeface="+mn-lt"/>
            </a:rPr>
            <a:t>2018 г.</a:t>
          </a:r>
          <a:endParaRPr lang="ru-RU" sz="2000" b="0" i="0" cap="none" spc="150" dirty="0">
            <a:ln w="11430"/>
            <a:effectLst/>
            <a:latin typeface="+mn-lt"/>
          </a:endParaRPr>
        </a:p>
      </dgm:t>
    </dgm:pt>
    <dgm:pt modelId="{23917597-7C8A-43CC-96DB-049192A079F8}" type="parTrans" cxnId="{36FA32BF-82BB-4FC9-9A73-ED7607F53872}">
      <dgm:prSet/>
      <dgm:spPr/>
      <dgm:t>
        <a:bodyPr/>
        <a:lstStyle/>
        <a:p>
          <a:endParaRPr lang="ru-RU"/>
        </a:p>
      </dgm:t>
    </dgm:pt>
    <dgm:pt modelId="{3D3D649C-9776-4268-A6C5-195ABBD9F2DE}" type="sibTrans" cxnId="{36FA32BF-82BB-4FC9-9A73-ED7607F53872}">
      <dgm:prSet/>
      <dgm:spPr/>
      <dgm:t>
        <a:bodyPr/>
        <a:lstStyle/>
        <a:p>
          <a:endParaRPr lang="ru-RU"/>
        </a:p>
      </dgm:t>
    </dgm:pt>
    <dgm:pt modelId="{437432FE-B84B-43F0-B75B-F6152E34BC9C}" type="pres">
      <dgm:prSet presAssocID="{0CE2BF2A-AB1F-4349-B41A-CCA79B694D48}" presName="Name0" presStyleCnt="0">
        <dgm:presLayoutVars>
          <dgm:dir/>
          <dgm:animLvl val="lvl"/>
          <dgm:resizeHandles val="exact"/>
        </dgm:presLayoutVars>
      </dgm:prSet>
      <dgm:spPr/>
    </dgm:pt>
    <dgm:pt modelId="{49D2AB91-0CD3-49D7-8F63-6D95131B9613}" type="pres">
      <dgm:prSet presAssocID="{AB9AA176-9E98-408F-9377-750C96986A26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51D589-F5CC-4AE6-82D9-2EEAD58EEE95}" type="pres">
      <dgm:prSet presAssocID="{29678396-CA39-4527-B41F-24BB73D09303}" presName="parTxOnlySpace" presStyleCnt="0"/>
      <dgm:spPr/>
    </dgm:pt>
    <dgm:pt modelId="{A782935A-6278-47D6-B4EB-09ACFB9512D7}" type="pres">
      <dgm:prSet presAssocID="{3520B287-8394-4CFD-BF82-4840DF251C68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67D985-BE4D-4358-A0F3-6CF83A2DC236}" type="pres">
      <dgm:prSet presAssocID="{93DAD04C-F255-4999-A47F-A3CCF04FF7AD}" presName="parTxOnlySpace" presStyleCnt="0"/>
      <dgm:spPr/>
    </dgm:pt>
    <dgm:pt modelId="{8EAE26F4-C0D6-4AF5-ADCB-7FCE7653C8E5}" type="pres">
      <dgm:prSet presAssocID="{3B02FC72-B525-4B4A-9720-4E4EF08A2775}" presName="parTxOnly" presStyleLbl="node1" presStyleIdx="2" presStyleCnt="5" custLinFactNeighborX="-19036" custLinFactNeighborY="154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CAE548-0882-42BE-AF6E-815227466704}" type="pres">
      <dgm:prSet presAssocID="{D1B6EE04-9661-4DE7-B2C3-5B838B4342AF}" presName="parTxOnlySpace" presStyleCnt="0"/>
      <dgm:spPr/>
    </dgm:pt>
    <dgm:pt modelId="{1ED2DBBF-1A54-4F4B-A575-03FDFA52EFE3}" type="pres">
      <dgm:prSet presAssocID="{9D306398-0B83-40ED-8969-911B368B38E9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5D42CF-66C7-417A-8557-41D70540ACEB}" type="pres">
      <dgm:prSet presAssocID="{FAA605F4-BDC8-49B1-9AC3-A64F5C68E4F2}" presName="parTxOnlySpace" presStyleCnt="0"/>
      <dgm:spPr/>
    </dgm:pt>
    <dgm:pt modelId="{F173F585-2847-45A6-9EB1-A6089AB60A89}" type="pres">
      <dgm:prSet presAssocID="{56B4CF61-84E2-4CD8-AD8B-C51E33AFD0C4}" presName="parTxOnly" presStyleLbl="node1" presStyleIdx="4" presStyleCnt="5" custLinFactNeighborX="6644" custLinFactNeighborY="-814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ABE3ECF-D0DB-4502-B567-C43E0F2893DF}" srcId="{0CE2BF2A-AB1F-4349-B41A-CCA79B694D48}" destId="{3B02FC72-B525-4B4A-9720-4E4EF08A2775}" srcOrd="2" destOrd="0" parTransId="{F8989356-2EA4-48BC-B94A-CC9E4EE9CE1A}" sibTransId="{D1B6EE04-9661-4DE7-B2C3-5B838B4342AF}"/>
    <dgm:cxn modelId="{F3F2218E-6598-4787-8FDF-658FD27B586B}" srcId="{0CE2BF2A-AB1F-4349-B41A-CCA79B694D48}" destId="{AB9AA176-9E98-408F-9377-750C96986A26}" srcOrd="0" destOrd="0" parTransId="{B2EAF2AE-05EC-448E-ADD3-3A92D3E77EEB}" sibTransId="{29678396-CA39-4527-B41F-24BB73D09303}"/>
    <dgm:cxn modelId="{D9BB98E0-1736-4F17-83C2-67C5457AB138}" srcId="{0CE2BF2A-AB1F-4349-B41A-CCA79B694D48}" destId="{9D306398-0B83-40ED-8969-911B368B38E9}" srcOrd="3" destOrd="0" parTransId="{36099905-2B2B-46AD-B0F4-64052208C64F}" sibTransId="{FAA605F4-BDC8-49B1-9AC3-A64F5C68E4F2}"/>
    <dgm:cxn modelId="{33F8CB06-30BF-484A-AAA4-C284CD5C29D1}" type="presOf" srcId="{9D306398-0B83-40ED-8969-911B368B38E9}" destId="{1ED2DBBF-1A54-4F4B-A575-03FDFA52EFE3}" srcOrd="0" destOrd="0" presId="urn:microsoft.com/office/officeart/2005/8/layout/chevron1"/>
    <dgm:cxn modelId="{36FA32BF-82BB-4FC9-9A73-ED7607F53872}" srcId="{0CE2BF2A-AB1F-4349-B41A-CCA79B694D48}" destId="{56B4CF61-84E2-4CD8-AD8B-C51E33AFD0C4}" srcOrd="4" destOrd="0" parTransId="{23917597-7C8A-43CC-96DB-049192A079F8}" sibTransId="{3D3D649C-9776-4268-A6C5-195ABBD9F2DE}"/>
    <dgm:cxn modelId="{654009FE-8207-49CC-9EA3-3CCDAA8F7F89}" type="presOf" srcId="{0CE2BF2A-AB1F-4349-B41A-CCA79B694D48}" destId="{437432FE-B84B-43F0-B75B-F6152E34BC9C}" srcOrd="0" destOrd="0" presId="urn:microsoft.com/office/officeart/2005/8/layout/chevron1"/>
    <dgm:cxn modelId="{E8B6297E-721E-4F29-A273-603CAB1F8421}" type="presOf" srcId="{3B02FC72-B525-4B4A-9720-4E4EF08A2775}" destId="{8EAE26F4-C0D6-4AF5-ADCB-7FCE7653C8E5}" srcOrd="0" destOrd="0" presId="urn:microsoft.com/office/officeart/2005/8/layout/chevron1"/>
    <dgm:cxn modelId="{94DCC227-B859-44C0-9EC0-6D0A9BAF5D12}" type="presOf" srcId="{56B4CF61-84E2-4CD8-AD8B-C51E33AFD0C4}" destId="{F173F585-2847-45A6-9EB1-A6089AB60A89}" srcOrd="0" destOrd="0" presId="urn:microsoft.com/office/officeart/2005/8/layout/chevron1"/>
    <dgm:cxn modelId="{E3DA94CA-1CB1-4396-8BEF-0B96BCFD094B}" type="presOf" srcId="{AB9AA176-9E98-408F-9377-750C96986A26}" destId="{49D2AB91-0CD3-49D7-8F63-6D95131B9613}" srcOrd="0" destOrd="0" presId="urn:microsoft.com/office/officeart/2005/8/layout/chevron1"/>
    <dgm:cxn modelId="{3B14343E-C7A4-4589-BB90-883D30FB8971}" srcId="{0CE2BF2A-AB1F-4349-B41A-CCA79B694D48}" destId="{3520B287-8394-4CFD-BF82-4840DF251C68}" srcOrd="1" destOrd="0" parTransId="{4D81E096-DD6C-49F9-ACE2-C6EB7B5DADCD}" sibTransId="{93DAD04C-F255-4999-A47F-A3CCF04FF7AD}"/>
    <dgm:cxn modelId="{45C805E9-6AF4-43EC-9E91-2C4F7DFB885F}" type="presOf" srcId="{3520B287-8394-4CFD-BF82-4840DF251C68}" destId="{A782935A-6278-47D6-B4EB-09ACFB9512D7}" srcOrd="0" destOrd="0" presId="urn:microsoft.com/office/officeart/2005/8/layout/chevron1"/>
    <dgm:cxn modelId="{08EFA0B7-31D7-4613-AD59-55699CA634D9}" type="presParOf" srcId="{437432FE-B84B-43F0-B75B-F6152E34BC9C}" destId="{49D2AB91-0CD3-49D7-8F63-6D95131B9613}" srcOrd="0" destOrd="0" presId="urn:microsoft.com/office/officeart/2005/8/layout/chevron1"/>
    <dgm:cxn modelId="{E0A82708-2986-4229-90CA-073CAB4AE0AD}" type="presParOf" srcId="{437432FE-B84B-43F0-B75B-F6152E34BC9C}" destId="{8B51D589-F5CC-4AE6-82D9-2EEAD58EEE95}" srcOrd="1" destOrd="0" presId="urn:microsoft.com/office/officeart/2005/8/layout/chevron1"/>
    <dgm:cxn modelId="{893BEED7-336D-49B1-BD52-B01C573A70EA}" type="presParOf" srcId="{437432FE-B84B-43F0-B75B-F6152E34BC9C}" destId="{A782935A-6278-47D6-B4EB-09ACFB9512D7}" srcOrd="2" destOrd="0" presId="urn:microsoft.com/office/officeart/2005/8/layout/chevron1"/>
    <dgm:cxn modelId="{A936A503-8623-4493-963D-9E31027A65A9}" type="presParOf" srcId="{437432FE-B84B-43F0-B75B-F6152E34BC9C}" destId="{1367D985-BE4D-4358-A0F3-6CF83A2DC236}" srcOrd="3" destOrd="0" presId="urn:microsoft.com/office/officeart/2005/8/layout/chevron1"/>
    <dgm:cxn modelId="{A811DA2C-AC32-42B1-BCAB-C50507A0BBA8}" type="presParOf" srcId="{437432FE-B84B-43F0-B75B-F6152E34BC9C}" destId="{8EAE26F4-C0D6-4AF5-ADCB-7FCE7653C8E5}" srcOrd="4" destOrd="0" presId="urn:microsoft.com/office/officeart/2005/8/layout/chevron1"/>
    <dgm:cxn modelId="{E92F87B4-875F-4923-AF33-D3BB31D0403D}" type="presParOf" srcId="{437432FE-B84B-43F0-B75B-F6152E34BC9C}" destId="{32CAE548-0882-42BE-AF6E-815227466704}" srcOrd="5" destOrd="0" presId="urn:microsoft.com/office/officeart/2005/8/layout/chevron1"/>
    <dgm:cxn modelId="{B6D67091-0210-4522-8EA3-7A0479BD89E2}" type="presParOf" srcId="{437432FE-B84B-43F0-B75B-F6152E34BC9C}" destId="{1ED2DBBF-1A54-4F4B-A575-03FDFA52EFE3}" srcOrd="6" destOrd="0" presId="urn:microsoft.com/office/officeart/2005/8/layout/chevron1"/>
    <dgm:cxn modelId="{76B82FEE-38CA-437B-9544-F9317C3B405F}" type="presParOf" srcId="{437432FE-B84B-43F0-B75B-F6152E34BC9C}" destId="{AD5D42CF-66C7-417A-8557-41D70540ACEB}" srcOrd="7" destOrd="0" presId="urn:microsoft.com/office/officeart/2005/8/layout/chevron1"/>
    <dgm:cxn modelId="{3F37552C-766D-4269-A18C-5F98159EA7D7}" type="presParOf" srcId="{437432FE-B84B-43F0-B75B-F6152E34BC9C}" destId="{F173F585-2847-45A6-9EB1-A6089AB60A89}" srcOrd="8" destOrd="0" presId="urn:microsoft.com/office/officeart/2005/8/layout/chevron1"/>
  </dgm:cxnLst>
  <dgm:bg>
    <a:noFill/>
    <a:effectLst>
      <a:softEdge rad="317500"/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D2AB91-0CD3-49D7-8F63-6D95131B9613}">
      <dsp:nvSpPr>
        <dsp:cNvPr id="0" name=""/>
        <dsp:cNvSpPr/>
      </dsp:nvSpPr>
      <dsp:spPr>
        <a:xfrm>
          <a:off x="2811" y="0"/>
          <a:ext cx="2501858" cy="61842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0" i="0" kern="1200" cap="none" spc="150" dirty="0" smtClean="0">
              <a:ln w="11430"/>
              <a:solidFill>
                <a:schemeClr val="accent5">
                  <a:lumMod val="50000"/>
                </a:schemeClr>
              </a:solidFill>
              <a:effectLst/>
              <a:latin typeface="+mn-lt"/>
            </a:rPr>
            <a:t>2005-2014гг</a:t>
          </a:r>
          <a:r>
            <a:rPr lang="ru-RU" sz="2000" b="0" i="0" kern="1200" cap="none" spc="150" dirty="0" smtClean="0">
              <a:ln w="11430"/>
              <a:effectLst/>
              <a:latin typeface="+mn-lt"/>
            </a:rPr>
            <a:t>.</a:t>
          </a:r>
          <a:endParaRPr lang="ru-RU" sz="2000" b="0" i="0" kern="1200" cap="none" spc="150" dirty="0">
            <a:ln w="11430"/>
            <a:effectLst/>
            <a:latin typeface="+mn-lt"/>
          </a:endParaRPr>
        </a:p>
      </dsp:txBody>
      <dsp:txXfrm>
        <a:off x="312025" y="0"/>
        <a:ext cx="1883430" cy="618428"/>
      </dsp:txXfrm>
    </dsp:sp>
    <dsp:sp modelId="{A782935A-6278-47D6-B4EB-09ACFB9512D7}">
      <dsp:nvSpPr>
        <dsp:cNvPr id="0" name=""/>
        <dsp:cNvSpPr/>
      </dsp:nvSpPr>
      <dsp:spPr>
        <a:xfrm>
          <a:off x="2254483" y="0"/>
          <a:ext cx="2501858" cy="61842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0" i="0" kern="1200" cap="none" spc="150" dirty="0" smtClean="0">
              <a:ln w="11430"/>
              <a:solidFill>
                <a:srgbClr val="FF0000"/>
              </a:solidFill>
              <a:effectLst/>
              <a:latin typeface="+mn-lt"/>
            </a:rPr>
            <a:t>2012-2015гг.</a:t>
          </a:r>
          <a:endParaRPr lang="ru-RU" sz="2000" b="0" i="0" kern="1200" cap="none" spc="150" dirty="0">
            <a:ln w="11430"/>
            <a:solidFill>
              <a:srgbClr val="FF0000"/>
            </a:solidFill>
            <a:effectLst/>
            <a:latin typeface="+mn-lt"/>
          </a:endParaRPr>
        </a:p>
      </dsp:txBody>
      <dsp:txXfrm>
        <a:off x="2563697" y="0"/>
        <a:ext cx="1883430" cy="618428"/>
      </dsp:txXfrm>
    </dsp:sp>
    <dsp:sp modelId="{8EAE26F4-C0D6-4AF5-ADCB-7FCE7653C8E5}">
      <dsp:nvSpPr>
        <dsp:cNvPr id="0" name=""/>
        <dsp:cNvSpPr/>
      </dsp:nvSpPr>
      <dsp:spPr>
        <a:xfrm>
          <a:off x="4458531" y="0"/>
          <a:ext cx="2501858" cy="61842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0" i="0" kern="1200" cap="none" spc="150" dirty="0" smtClean="0">
              <a:ln w="11430"/>
              <a:effectLst/>
              <a:latin typeface="+mn-lt"/>
            </a:rPr>
            <a:t>2016г.</a:t>
          </a:r>
          <a:endParaRPr lang="ru-RU" sz="2000" b="0" i="0" kern="1200" cap="none" spc="150" dirty="0">
            <a:ln w="11430"/>
            <a:effectLst/>
            <a:latin typeface="+mn-lt"/>
          </a:endParaRPr>
        </a:p>
      </dsp:txBody>
      <dsp:txXfrm>
        <a:off x="4767745" y="0"/>
        <a:ext cx="1883430" cy="618428"/>
      </dsp:txXfrm>
    </dsp:sp>
    <dsp:sp modelId="{1ED2DBBF-1A54-4F4B-A575-03FDFA52EFE3}">
      <dsp:nvSpPr>
        <dsp:cNvPr id="0" name=""/>
        <dsp:cNvSpPr/>
      </dsp:nvSpPr>
      <dsp:spPr>
        <a:xfrm>
          <a:off x="6757829" y="0"/>
          <a:ext cx="2501858" cy="61842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0" i="0" kern="1200" cap="none" spc="150" dirty="0" smtClean="0">
              <a:ln w="11430"/>
              <a:effectLst/>
              <a:latin typeface="+mn-lt"/>
            </a:rPr>
            <a:t>2017 г.</a:t>
          </a:r>
          <a:endParaRPr lang="ru-RU" sz="2000" b="0" i="0" kern="1200" cap="none" spc="150" dirty="0">
            <a:ln w="11430"/>
            <a:effectLst/>
            <a:latin typeface="+mn-lt"/>
          </a:endParaRPr>
        </a:p>
      </dsp:txBody>
      <dsp:txXfrm>
        <a:off x="7067043" y="0"/>
        <a:ext cx="1883430" cy="618428"/>
      </dsp:txXfrm>
    </dsp:sp>
    <dsp:sp modelId="{F173F585-2847-45A6-9EB1-A6089AB60A89}">
      <dsp:nvSpPr>
        <dsp:cNvPr id="0" name=""/>
        <dsp:cNvSpPr/>
      </dsp:nvSpPr>
      <dsp:spPr>
        <a:xfrm>
          <a:off x="9012313" y="0"/>
          <a:ext cx="2501858" cy="61842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0" i="0" kern="1200" cap="none" spc="150" dirty="0" smtClean="0">
              <a:ln w="11430"/>
              <a:effectLst/>
              <a:latin typeface="+mn-lt"/>
            </a:rPr>
            <a:t>2018 г.</a:t>
          </a:r>
          <a:endParaRPr lang="ru-RU" sz="2000" b="0" i="0" kern="1200" cap="none" spc="150" dirty="0">
            <a:ln w="11430"/>
            <a:effectLst/>
            <a:latin typeface="+mn-lt"/>
          </a:endParaRPr>
        </a:p>
      </dsp:txBody>
      <dsp:txXfrm>
        <a:off x="9321527" y="0"/>
        <a:ext cx="1883430" cy="6184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69B152-15E4-4396-AA9F-CA87FA289E54}" type="datetimeFigureOut">
              <a:rPr lang="ru-RU" smtClean="0"/>
              <a:t>22.06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0F2645-B5DF-4832-BFA7-64B5241A69F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12561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0F2645-B5DF-4832-BFA7-64B5241A69FD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58432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0F2645-B5DF-4832-BFA7-64B5241A69FD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00241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2645-B5DF-4832-BFA7-64B5241A69F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1559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Процедура сертификации и оценки на соответствие категории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 в области здравоохранения (приказ МЗСР РК № 693 от 28 августа 2015 г.)</a:t>
            </a:r>
            <a:endParaRPr lang="ru-RU" dirty="0" smtClean="0"/>
          </a:p>
          <a:p>
            <a:r>
              <a:rPr lang="ru-RU" dirty="0" smtClean="0"/>
              <a:t>Процедура Присвоение квалификационной категории для специалистов</a:t>
            </a:r>
            <a:br>
              <a:rPr lang="ru-RU" dirty="0" smtClean="0"/>
            </a:br>
            <a:r>
              <a:rPr lang="ru-RU" dirty="0" smtClean="0"/>
              <a:t>в области  здравоохранения (Приказ МЗСР РК №531 от 29 июня 2015 г.)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0F2645-B5DF-4832-BFA7-64B5241A69FD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90059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 algn="just"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МР – 19906, подтвердили – 12074 (61%), не подтвердили – 7832 (39%)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F2645-B5DF-4832-BFA7-64B5241A69F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8908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AB02FA-3FE6-422C-A2BA-61319A75B3E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5805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 algn="ctr">
              <a:buNone/>
              <a:defRPr sz="21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62AC9F5-2F3E-44ED-84E9-BFA4DCCA4C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22.06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5B627ED-C8C3-4005-9E81-E3B76D34F1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59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62AC9F5-2F3E-44ED-84E9-BFA4DCCA4C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22.06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5B627ED-C8C3-4005-9E81-E3B76D34F1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2019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0362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0364"/>
            <a:ext cx="7734300" cy="58118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62AC9F5-2F3E-44ED-84E9-BFA4DCCA4C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22.06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5B627ED-C8C3-4005-9E81-E3B76D34F1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756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3F9C7-DA1E-4744-B038-0B8307C74E7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18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2176B-0E47-46AC-8F43-DAB4B8A37D06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2159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4D406-DD87-4344-84D9-5649C153F1B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18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2176B-0E47-46AC-8F43-DAB4B8A37D06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4464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C69D9-7E6A-45B5-8AA1-58419017088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18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2176B-0E47-46AC-8F43-DAB4B8A37D06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5413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32CA52-FDE1-492A-861C-EF66F2ABAEE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18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2176B-0E47-46AC-8F43-DAB4B8A37D06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0086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Metin Yer Tutucusu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5 İçerik Yer Tutucusu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6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F9358-4D9C-416A-8E04-44BCAD69809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18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2176B-0E47-46AC-8F43-DAB4B8A37D06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2561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C4B98-4D10-4AE3-A899-2AE17D2CE7A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18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2176B-0E47-46AC-8F43-DAB4B8A37D06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482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89FE2-ED85-481F-A884-770B8788F54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18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2176B-0E47-46AC-8F43-DAB4B8A37D06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1195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E6EEC-FA5D-432C-B8EF-706A93A2770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18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2176B-0E47-46AC-8F43-DAB4B8A37D06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008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62AC9F5-2F3E-44ED-84E9-BFA4DCCA4C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22.06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5B627ED-C8C3-4005-9E81-E3B76D34F1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6578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Resim Yer Tutucusu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327BE4-EB7E-4116-8631-92E7B6C583F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18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2176B-0E47-46AC-8F43-DAB4B8A37D06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326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C6CE2-DAB5-4385-BE12-20DE3423A6C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18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2176B-0E47-46AC-8F43-DAB4B8A37D06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1711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Dikey Başlık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A89ABE-A891-4CCE-9F15-4E1D8121B08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18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2176B-0E47-46AC-8F43-DAB4B8A37D06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420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12423"/>
            <a:ext cx="10515600" cy="2851208"/>
          </a:xfrm>
        </p:spPr>
        <p:txBody>
          <a:bodyPr anchor="b">
            <a:normAutofit/>
          </a:bodyPr>
          <a:lstStyle>
            <a:lvl1pPr>
              <a:defRPr sz="45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52635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62AC9F5-2F3E-44ED-84E9-BFA4DCCA4C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22.06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5B627ED-C8C3-4005-9E81-E3B76D34F1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516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2"/>
            <a:ext cx="5181600" cy="43513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2"/>
            <a:ext cx="5181600" cy="43513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62AC9F5-2F3E-44ED-84E9-BFA4DCCA4C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22.06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5B627ED-C8C3-4005-9E81-E3B76D34F1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9351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2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2"/>
            <a:ext cx="5156200" cy="3680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7552"/>
            <a:ext cx="5181601" cy="3680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62AC9F5-2F3E-44ED-84E9-BFA4DCCA4C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22.06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5B627ED-C8C3-4005-9E81-E3B76D34F1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764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62AC9F5-2F3E-44ED-84E9-BFA4DCCA4C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22.06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5B627ED-C8C3-4005-9E81-E3B76D34F1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7696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62AC9F5-2F3E-44ED-84E9-BFA4DCCA4C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22.06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5B627ED-C8C3-4005-9E81-E3B76D34F1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8625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2"/>
            <a:ext cx="3931920" cy="1600197"/>
          </a:xfrm>
        </p:spPr>
        <p:txBody>
          <a:bodyPr anchor="b">
            <a:normAutofit/>
          </a:bodyPr>
          <a:lstStyle>
            <a:lvl1pPr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62AC9F5-2F3E-44ED-84E9-BFA4DCCA4C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22.06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5B627ED-C8C3-4005-9E81-E3B76D34F1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3457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62AC9F5-2F3E-44ED-84E9-BFA4DCCA4C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22.06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5B627ED-C8C3-4005-9E81-E3B76D34F1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414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2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685800"/>
            <a:fld id="{D62AC9F5-2F3E-44ED-84E9-BFA4DCCA4CC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22.06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6858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25B627ED-C8C3-4005-9E81-E3B76D34F1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586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Wingdings 2" pitchFamily="18" charset="2"/>
        <a:buChar char="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Wingdings 2" pitchFamily="18" charset="2"/>
        <a:buChar char="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 Yer Tutucusu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AAB91D-8AB9-4791-AB22-4339363BA6B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18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02176B-0E47-46AC-8F43-DAB4B8A37D06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500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qazexam.kz/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office@ncie.kz" TargetMode="Externa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4.jpeg"/><Relationship Id="rId4" Type="http://schemas.openxmlformats.org/officeDocument/2006/relationships/diagramLayout" Target="../diagrams/layout1.xml"/><Relationship Id="rId9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qazexam.kz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999656" y="4221088"/>
            <a:ext cx="6400800" cy="1728192"/>
          </a:xfrm>
        </p:spPr>
        <p:txBody>
          <a:bodyPr>
            <a:normAutofit/>
          </a:bodyPr>
          <a:lstStyle/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6" name="TextBox 7"/>
          <p:cNvSpPr txBox="1">
            <a:spLocks noChangeArrowheads="1"/>
          </p:cNvSpPr>
          <p:nvPr/>
        </p:nvSpPr>
        <p:spPr bwMode="auto">
          <a:xfrm>
            <a:off x="4799856" y="6319739"/>
            <a:ext cx="263245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kk-KZ" altLang="ru-RU" sz="1400" b="1" dirty="0">
                <a:solidFill>
                  <a:srgbClr val="0070C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г. Астана, </a:t>
            </a:r>
            <a:r>
              <a:rPr lang="en-US" altLang="ru-RU" sz="1400" b="1" dirty="0">
                <a:solidFill>
                  <a:srgbClr val="0070C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1400" b="1" dirty="0" smtClean="0">
                <a:solidFill>
                  <a:srgbClr val="0070C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июнь</a:t>
            </a:r>
            <a:r>
              <a:rPr lang="kk-KZ" altLang="ru-RU" sz="1400" b="1" dirty="0" smtClean="0">
                <a:solidFill>
                  <a:srgbClr val="0070C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kk-KZ" altLang="ru-RU" sz="1400" b="1" dirty="0">
                <a:solidFill>
                  <a:srgbClr val="0070C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2018 года</a:t>
            </a:r>
            <a:endParaRPr lang="ru-RU" altLang="ru-RU" sz="1400" b="1" dirty="0">
              <a:solidFill>
                <a:srgbClr val="0070C0"/>
              </a:solidFill>
              <a:latin typeface="Century Gothic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8" name="Picture 2" descr="C:\Users\zhumagulova_k\Desktop\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71966" y="1324755"/>
            <a:ext cx="2088232" cy="2088242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1991544" y="3515825"/>
            <a:ext cx="8359087" cy="1286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90000"/>
              </a:lnSpc>
              <a:spcBef>
                <a:spcPts val="1000"/>
              </a:spcBef>
            </a:pPr>
            <a:r>
              <a:rPr lang="ru-RU" sz="3200" b="1" dirty="0" smtClean="0">
                <a:solidFill>
                  <a:srgbClr val="FF0000"/>
                </a:solidFill>
              </a:rPr>
              <a:t>«</a:t>
            </a:r>
            <a:r>
              <a:rPr lang="ru-RU" sz="3200" b="1" dirty="0">
                <a:solidFill>
                  <a:srgbClr val="FF0000"/>
                </a:solidFill>
              </a:rPr>
              <a:t>Оценка знаний, сертификация и лицензирование медицинских сестер» </a:t>
            </a:r>
          </a:p>
          <a:p>
            <a:pPr algn="ctr"/>
            <a:endParaRPr lang="ru-RU" sz="2000" b="1" dirty="0">
              <a:solidFill>
                <a:srgbClr val="0070C0"/>
              </a:solidFill>
              <a:latin typeface="Century Gothic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991544" y="476672"/>
            <a:ext cx="868231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ru-RU" altLang="ru-RU" b="1" dirty="0" smtClean="0">
                <a:solidFill>
                  <a:srgbClr val="0070C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НАЦИОНАЛЬНЫЙ </a:t>
            </a:r>
            <a:r>
              <a:rPr lang="ru-RU" altLang="ru-RU" b="1" dirty="0">
                <a:solidFill>
                  <a:srgbClr val="0070C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ЦЕНТР НЕЗАВИСИМОЙ </a:t>
            </a:r>
            <a:r>
              <a:rPr lang="ru-RU" altLang="ru-RU" b="1" dirty="0" smtClean="0">
                <a:solidFill>
                  <a:srgbClr val="0070C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ЭКЗАМЕНАЦИИ</a:t>
            </a:r>
          </a:p>
          <a:p>
            <a:pPr algn="ctr">
              <a:spcBef>
                <a:spcPct val="0"/>
              </a:spcBef>
              <a:defRPr/>
            </a:pPr>
            <a:r>
              <a:rPr lang="en-US" altLang="ru-RU" b="1" dirty="0" smtClean="0">
                <a:solidFill>
                  <a:srgbClr val="0070C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National </a:t>
            </a:r>
            <a:r>
              <a:rPr lang="en-US" altLang="ru-RU" b="1" dirty="0">
                <a:solidFill>
                  <a:srgbClr val="0070C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Center for Independent Examination</a:t>
            </a:r>
            <a:endParaRPr lang="ru-RU" altLang="ru-RU" b="1" dirty="0">
              <a:solidFill>
                <a:srgbClr val="0070C0"/>
              </a:solidFill>
              <a:latin typeface="Century Gothic" pitchFamily="34" charset="0"/>
              <a:ea typeface="Tahoma" pitchFamily="34" charset="0"/>
              <a:cs typeface="Tahoma" pitchFamily="34" charset="0"/>
            </a:endParaRPr>
          </a:p>
          <a:p>
            <a:pPr algn="ctr">
              <a:spcBef>
                <a:spcPct val="0"/>
              </a:spcBef>
              <a:defRPr/>
            </a:pPr>
            <a:endParaRPr lang="ru-RU" altLang="ru-RU" b="1" dirty="0">
              <a:solidFill>
                <a:srgbClr val="0070C0"/>
              </a:solidFill>
              <a:latin typeface="Century Gothic" pitchFamily="34" charset="0"/>
              <a:ea typeface="Tahoma" pitchFamily="34" charset="0"/>
              <a:cs typeface="Tahoma" pitchFamily="34" charset="0"/>
            </a:endParaRPr>
          </a:p>
          <a:p>
            <a:pPr algn="ctr">
              <a:spcBef>
                <a:spcPct val="0"/>
              </a:spcBef>
              <a:defRPr/>
            </a:pPr>
            <a:r>
              <a:rPr lang="en-US" altLang="ru-RU" b="1" dirty="0" smtClean="0">
                <a:solidFill>
                  <a:srgbClr val="0070C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  </a:t>
            </a:r>
            <a:endParaRPr lang="ru-RU" altLang="ru-RU" b="1" dirty="0">
              <a:solidFill>
                <a:srgbClr val="0070C0"/>
              </a:solidFill>
              <a:latin typeface="Century Gothic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922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5291" y="247650"/>
            <a:ext cx="10408959" cy="514350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2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2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200" b="1" dirty="0" smtClean="0">
                <a:latin typeface="+mn-lt"/>
                <a:cs typeface="Times New Roman" pitchFamily="18" charset="0"/>
              </a:rPr>
              <a:t>Итоги </a:t>
            </a:r>
            <a:r>
              <a:rPr lang="ru-RU" sz="2200" b="1" dirty="0">
                <a:latin typeface="+mn-lt"/>
                <a:cs typeface="Times New Roman" pitchFamily="18" charset="0"/>
              </a:rPr>
              <a:t>оценки профессиональной подготовленности специалистов </a:t>
            </a:r>
            <a:r>
              <a:rPr lang="ru-RU" sz="2200" b="1" dirty="0" smtClean="0">
                <a:latin typeface="+mn-lt"/>
                <a:cs typeface="Times New Roman" pitchFamily="18" charset="0"/>
              </a:rPr>
              <a:t/>
            </a:r>
            <a:br>
              <a:rPr lang="ru-RU" sz="2200" b="1" dirty="0" smtClean="0">
                <a:latin typeface="+mn-lt"/>
                <a:cs typeface="Times New Roman" pitchFamily="18" charset="0"/>
              </a:rPr>
            </a:br>
            <a:r>
              <a:rPr lang="ru-RU" sz="2200" b="1" dirty="0" smtClean="0">
                <a:latin typeface="+mn-lt"/>
                <a:cs typeface="Times New Roman" pitchFamily="18" charset="0"/>
              </a:rPr>
              <a:t>со средним медицинским (профессиональным) </a:t>
            </a:r>
            <a:r>
              <a:rPr lang="ru-RU" sz="2200" b="1" dirty="0">
                <a:latin typeface="+mn-lt"/>
                <a:cs typeface="Times New Roman" pitchFamily="18" charset="0"/>
              </a:rPr>
              <a:t>образованием  </a:t>
            </a:r>
            <a:r>
              <a:rPr lang="ru-RU" sz="2200" b="1" dirty="0" smtClean="0">
                <a:latin typeface="+mn-lt"/>
                <a:cs typeface="Times New Roman" pitchFamily="18" charset="0"/>
              </a:rPr>
              <a:t> </a:t>
            </a:r>
            <a:r>
              <a:rPr lang="en-US" sz="36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3600" b="1" dirty="0" smtClean="0">
                <a:latin typeface="Times New Roman" pitchFamily="18" charset="0"/>
                <a:cs typeface="Times New Roman" pitchFamily="18" charset="0"/>
              </a:rPr>
            </a:br>
            <a:endParaRPr lang="ru-RU" dirty="0"/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5257150"/>
              </p:ext>
            </p:extLst>
          </p:nvPr>
        </p:nvGraphicFramePr>
        <p:xfrm>
          <a:off x="735291" y="1819618"/>
          <a:ext cx="10365655" cy="344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1039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446256" y="235670"/>
            <a:ext cx="6933414" cy="7164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Лицензионный экзамен специалистов со средним медицинским образованием (проект)</a:t>
            </a:r>
            <a:endParaRPr lang="ru-RU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36126" y="1415537"/>
            <a:ext cx="4944362" cy="5962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ГАК= Л</a:t>
            </a:r>
            <a:r>
              <a:rPr lang="ru-RU" alt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ицензионный экзамен</a:t>
            </a:r>
            <a:endParaRPr lang="ru-RU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Стрелка вправо 3"/>
          <p:cNvSpPr/>
          <p:nvPr/>
        </p:nvSpPr>
        <p:spPr>
          <a:xfrm>
            <a:off x="235669" y="2672498"/>
            <a:ext cx="1527144" cy="914400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ыпускник </a:t>
            </a:r>
            <a:endParaRPr lang="ru-RU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866506" y="2340281"/>
            <a:ext cx="6344242" cy="124661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951349" y="2391264"/>
            <a:ext cx="625939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altLang="ru-RU" dirty="0" smtClean="0"/>
              <a:t>оценка </a:t>
            </a:r>
            <a:r>
              <a:rPr lang="ru-RU" altLang="ru-RU" dirty="0"/>
              <a:t>знаний </a:t>
            </a:r>
            <a:r>
              <a:rPr lang="ru-RU" altLang="ru-RU" dirty="0" smtClean="0"/>
              <a:t>базовых и клинических </a:t>
            </a:r>
            <a:r>
              <a:rPr lang="ru-RU" altLang="ru-RU" dirty="0"/>
              <a:t>дисциплин - тестирование </a:t>
            </a:r>
            <a:r>
              <a:rPr lang="ru-RU" altLang="ru-RU" dirty="0" smtClean="0"/>
              <a:t>150 ТВ </a:t>
            </a:r>
          </a:p>
          <a:p>
            <a:pPr algn="just"/>
            <a:r>
              <a:rPr lang="ru-RU" altLang="ru-RU" dirty="0" smtClean="0"/>
              <a:t>(базовые – 50, амбулаторная помощь - 50,  </a:t>
            </a:r>
            <a:r>
              <a:rPr lang="ru-RU" altLang="ru-RU" dirty="0"/>
              <a:t>стационарная </a:t>
            </a:r>
            <a:r>
              <a:rPr lang="ru-RU" altLang="ru-RU" dirty="0" smtClean="0"/>
              <a:t>помощь - 50) </a:t>
            </a:r>
            <a:endParaRPr lang="ru-RU" altLang="ru-RU" dirty="0"/>
          </a:p>
          <a:p>
            <a:pPr algn="just"/>
            <a:endParaRPr lang="ru-RU" alt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087275" y="4013541"/>
            <a:ext cx="4242064" cy="49055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Национальный центр независимой </a:t>
            </a:r>
            <a:r>
              <a:rPr lang="ru-RU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экзаменации</a:t>
            </a:r>
            <a:endParaRPr lang="ru-RU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030121" y="1833514"/>
            <a:ext cx="1941920" cy="257661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Государственный орган по выдаче лицензии</a:t>
            </a:r>
            <a:endParaRPr lang="ru-RU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Стрелка вправо 10"/>
          <p:cNvSpPr/>
          <p:nvPr/>
        </p:nvSpPr>
        <p:spPr>
          <a:xfrm>
            <a:off x="8399283" y="2672498"/>
            <a:ext cx="1527144" cy="914400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Результаты </a:t>
            </a:r>
            <a:endParaRPr lang="ru-RU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71976" y="5223771"/>
            <a:ext cx="2771481" cy="9144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Государственные органы местного управления здравоохранения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125404" y="4936406"/>
            <a:ext cx="2545237" cy="9144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оюз медицинских колледжей 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152589" y="5223771"/>
            <a:ext cx="2493387" cy="9144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Медицинские организации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9219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152649" y="250138"/>
            <a:ext cx="8452505" cy="1126175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ru-RU" sz="2400" b="1" dirty="0">
                <a:latin typeface="+mn-lt"/>
              </a:rPr>
              <a:t>Сертификационный экзамен </a:t>
            </a:r>
            <a:r>
              <a:rPr lang="ru-RU" sz="2000" b="1" dirty="0">
                <a:latin typeface="+mn-lt"/>
              </a:rPr>
              <a:t>(проект</a:t>
            </a:r>
            <a:r>
              <a:rPr lang="ru-RU" sz="2000" b="1" dirty="0" smtClean="0">
                <a:latin typeface="+mn-lt"/>
              </a:rPr>
              <a:t>)</a:t>
            </a:r>
            <a:r>
              <a:rPr lang="ru-RU" sz="2000" b="1" dirty="0">
                <a:latin typeface="+mn-lt"/>
              </a:rPr>
              <a:t/>
            </a:r>
            <a:br>
              <a:rPr lang="ru-RU" sz="2000" b="1" dirty="0">
                <a:latin typeface="+mn-lt"/>
              </a:rPr>
            </a:br>
            <a:r>
              <a:rPr lang="ru-RU" sz="2000" b="1" dirty="0">
                <a:latin typeface="+mn-lt"/>
              </a:rPr>
              <a:t>(Оценка соответствия квалификации) </a:t>
            </a:r>
            <a:endParaRPr lang="ru-RU" sz="2000" b="1" i="1" dirty="0">
              <a:latin typeface="+mn-lt"/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373270" y="2048359"/>
            <a:ext cx="412672" cy="41764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marL="0" indent="0" algn="ctr">
              <a:lnSpc>
                <a:spcPct val="150000"/>
              </a:lnSpc>
              <a:buNone/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</a:t>
            </a:r>
          </a:p>
          <a:p>
            <a:pPr marL="0" indent="0" algn="ctr">
              <a:lnSpc>
                <a:spcPct val="150000"/>
              </a:lnSpc>
              <a:buNone/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</a:t>
            </a:r>
          </a:p>
          <a:p>
            <a:pPr marL="0" indent="0" algn="ctr">
              <a:lnSpc>
                <a:spcPct val="150000"/>
              </a:lnSpc>
              <a:buNone/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</a:t>
            </a:r>
          </a:p>
          <a:p>
            <a:pPr marL="0" indent="0" algn="ctr">
              <a:lnSpc>
                <a:spcPct val="150000"/>
              </a:lnSpc>
              <a:buNone/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</a:t>
            </a:r>
          </a:p>
          <a:p>
            <a:pPr marL="0" indent="0" algn="ctr">
              <a:lnSpc>
                <a:spcPct val="150000"/>
              </a:lnSpc>
              <a:buNone/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 marL="0" indent="0" algn="ctr">
              <a:lnSpc>
                <a:spcPct val="150000"/>
              </a:lnSpc>
              <a:buNone/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</a:t>
            </a:r>
          </a:p>
          <a:p>
            <a:pPr marL="0" indent="0" algn="ctr">
              <a:lnSpc>
                <a:spcPct val="150000"/>
              </a:lnSpc>
              <a:buNone/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 marL="0" indent="0" algn="ctr">
              <a:lnSpc>
                <a:spcPct val="150000"/>
              </a:lnSpc>
              <a:buNone/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</a:t>
            </a:r>
          </a:p>
          <a:p>
            <a:pPr marL="0" indent="0" algn="ctr">
              <a:lnSpc>
                <a:spcPct val="150000"/>
              </a:lnSpc>
              <a:buNone/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</a:t>
            </a:r>
          </a:p>
          <a:p>
            <a:pPr marL="0" indent="0" algn="ctr">
              <a:lnSpc>
                <a:spcPct val="150000"/>
              </a:lnSpc>
              <a:buNone/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</a:t>
            </a:r>
          </a:p>
          <a:p>
            <a:pPr marL="0" indent="0" algn="ctr">
              <a:lnSpc>
                <a:spcPct val="150000"/>
              </a:lnSpc>
              <a:buNone/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 marL="0" indent="0" algn="ctr">
              <a:lnSpc>
                <a:spcPct val="150000"/>
              </a:lnSpc>
              <a:buNone/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Я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2176B-0E47-46AC-8F43-DAB4B8A37D06}" type="slidenum">
              <a:rPr lang="tr-TR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2</a:t>
            </a:fld>
            <a:endParaRPr lang="tr-T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5894777"/>
              </p:ext>
            </p:extLst>
          </p:nvPr>
        </p:nvGraphicFramePr>
        <p:xfrm>
          <a:off x="980389" y="1640264"/>
          <a:ext cx="10803116" cy="5081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06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03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22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117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4760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14971"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Сертификация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по специальности согласно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уровням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квалификации профессионального стандарта (1 раз в 5 лет).</a:t>
                      </a:r>
                    </a:p>
                  </a:txBody>
                  <a:tcPr marL="68580" marR="6858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3749"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/>
                        <a:t>Формат сертификационного экзамена:</a:t>
                      </a:r>
                    </a:p>
                  </a:txBody>
                  <a:tcPr marL="68580" marR="685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99107">
                <a:tc gridSpan="3">
                  <a:txBody>
                    <a:bodyPr/>
                    <a:lstStyle/>
                    <a:p>
                      <a:pPr algn="ctr"/>
                      <a:r>
                        <a:rPr lang="ru-RU" sz="1600" b="0" dirty="0" smtClean="0"/>
                        <a:t>1 этап – тестирование (Центр оценки</a:t>
                      </a:r>
                      <a:r>
                        <a:rPr lang="ru-RU" sz="1600" b="0" baseline="0" dirty="0" smtClean="0"/>
                        <a:t> </a:t>
                      </a:r>
                      <a:r>
                        <a:rPr lang="ru-RU" sz="1600" b="0" dirty="0" smtClean="0"/>
                        <a:t>знаний и навыков)</a:t>
                      </a:r>
                      <a:endParaRPr lang="ru-RU" sz="1600" b="0" dirty="0"/>
                    </a:p>
                  </a:txBody>
                  <a:tcPr marL="68580" marR="685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600" b="0" dirty="0" smtClean="0"/>
                        <a:t>2 этап – портфолио  (рекомендации профессиональных</a:t>
                      </a:r>
                      <a:r>
                        <a:rPr lang="ru-RU" sz="1600" b="0" baseline="0" dirty="0" smtClean="0"/>
                        <a:t> ассоциаций</a:t>
                      </a:r>
                      <a:r>
                        <a:rPr lang="ru-RU" sz="1600" b="0" dirty="0" smtClean="0"/>
                        <a:t>)</a:t>
                      </a:r>
                      <a:endParaRPr lang="ru-RU" sz="1600" b="0" dirty="0"/>
                    </a:p>
                  </a:txBody>
                  <a:tcPr marL="68580" marR="685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3749"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baseline="0" dirty="0" smtClean="0"/>
                        <a:t>ТРЕБОВАНИЯ</a:t>
                      </a:r>
                      <a:endParaRPr lang="ru-RU" sz="1600" b="1" dirty="0" smtClean="0"/>
                    </a:p>
                  </a:txBody>
                  <a:tcPr marL="68580" marR="6858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59634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Стаж работы</a:t>
                      </a:r>
                    </a:p>
                    <a:p>
                      <a:pPr algn="ctr"/>
                      <a:r>
                        <a:rPr lang="ru-RU" sz="1600" dirty="0" smtClean="0"/>
                        <a:t>Профессиональная деятельность и др.</a:t>
                      </a:r>
                      <a:endParaRPr lang="ru-RU" sz="1600" dirty="0"/>
                    </a:p>
                  </a:txBody>
                  <a:tcPr marL="68580" marR="6858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Результат сертификационного экзамена</a:t>
                      </a:r>
                      <a:endParaRPr lang="ru-RU" sz="1600" dirty="0"/>
                    </a:p>
                  </a:txBody>
                  <a:tcPr marL="68580" marR="6858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Часы непрерывного профессионального обучения</a:t>
                      </a:r>
                      <a:endParaRPr lang="ru-RU" sz="1600" dirty="0"/>
                    </a:p>
                  </a:txBody>
                  <a:tcPr marL="68580" marR="6858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Портфолио </a:t>
                      </a:r>
                      <a:r>
                        <a:rPr lang="ru-RU" sz="1600" baseline="0" dirty="0" smtClean="0"/>
                        <a:t>(результаты анонимного анкетирования от пациентов и коллег, владение новыми технологиями) </a:t>
                      </a:r>
                      <a:endParaRPr lang="ru-RU" sz="1600" dirty="0" smtClean="0"/>
                    </a:p>
                  </a:txBody>
                  <a:tcPr marL="68580" marR="6858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По результату: 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ru-RU" sz="1600" dirty="0" smtClean="0"/>
                        <a:t>1)Тестирование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ru-RU" sz="1600" baseline="0" dirty="0" smtClean="0"/>
                        <a:t>2)Портфолио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ru-RU" sz="1600" baseline="0" dirty="0" smtClean="0"/>
                        <a:t>Профессиональными ассоциациями выдается рекомендация </a:t>
                      </a:r>
                      <a:endParaRPr lang="ru-RU" sz="1600" dirty="0"/>
                    </a:p>
                  </a:txBody>
                  <a:tcPr marL="68580" marR="6858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9756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zhumagulova_k\Desktop\Безымянный.png"/>
          <p:cNvPicPr>
            <a:picLocks noChangeAspect="1" noChangeArrowheads="1"/>
          </p:cNvPicPr>
          <p:nvPr/>
        </p:nvPicPr>
        <p:blipFill>
          <a:blip r:embed="rId2" cstate="print"/>
          <a:srcRect l="19047" t="6757"/>
          <a:stretch>
            <a:fillRect/>
          </a:stretch>
        </p:blipFill>
        <p:spPr bwMode="auto">
          <a:xfrm>
            <a:off x="992009" y="1076066"/>
            <a:ext cx="10531902" cy="5670222"/>
          </a:xfrm>
          <a:prstGeom prst="rect">
            <a:avLst/>
          </a:prstGeom>
          <a:noFill/>
        </p:spPr>
      </p:pic>
      <p:sp>
        <p:nvSpPr>
          <p:cNvPr id="3" name="Прямоугольник 2"/>
          <p:cNvSpPr/>
          <p:nvPr/>
        </p:nvSpPr>
        <p:spPr>
          <a:xfrm>
            <a:off x="1952596" y="214292"/>
            <a:ext cx="828680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err="1">
                <a:solidFill>
                  <a:prstClr val="black"/>
                </a:solidFill>
                <a:latin typeface="Century Gothic" pitchFamily="34" charset="0"/>
              </a:rPr>
              <a:t>Веб-сайт</a:t>
            </a:r>
            <a:r>
              <a:rPr lang="ru-RU" b="1" dirty="0">
                <a:solidFill>
                  <a:prstClr val="black"/>
                </a:solidFill>
                <a:latin typeface="Century Gothic" pitchFamily="34" charset="0"/>
              </a:rPr>
              <a:t> НЦНЭ </a:t>
            </a:r>
            <a:r>
              <a:rPr lang="en-US" b="1" dirty="0">
                <a:solidFill>
                  <a:prstClr val="black"/>
                </a:solidFill>
                <a:latin typeface="Century Gothic" pitchFamily="34" charset="0"/>
                <a:hlinkClick r:id="rId3"/>
              </a:rPr>
              <a:t> www.qazexam.kz</a:t>
            </a:r>
            <a:r>
              <a:rPr lang="ru-RU" b="1" dirty="0">
                <a:solidFill>
                  <a:prstClr val="black"/>
                </a:solidFill>
                <a:latin typeface="Century Gothic" pitchFamily="34" charset="0"/>
              </a:rPr>
              <a:t>  </a:t>
            </a:r>
          </a:p>
          <a:p>
            <a:pPr algn="just">
              <a:buFont typeface="Wingdings" pitchFamily="2" charset="2"/>
              <a:buChar char="q"/>
            </a:pPr>
            <a:r>
              <a:rPr lang="ru-RU" sz="1600" dirty="0" smtClean="0">
                <a:solidFill>
                  <a:prstClr val="black"/>
                </a:solidFill>
                <a:latin typeface="Century Gothic" pitchFamily="34" charset="0"/>
              </a:rPr>
              <a:t> Прием документов и регистрация </a:t>
            </a:r>
            <a:r>
              <a:rPr lang="ru-RU" sz="1600" dirty="0">
                <a:solidFill>
                  <a:prstClr val="black"/>
                </a:solidFill>
                <a:latin typeface="Century Gothic" pitchFamily="34" charset="0"/>
              </a:rPr>
              <a:t>претендентов осуществляется в </a:t>
            </a:r>
            <a:r>
              <a:rPr lang="ru-RU" sz="1600" b="1" i="1" dirty="0">
                <a:solidFill>
                  <a:prstClr val="black"/>
                </a:solidFill>
                <a:latin typeface="Century Gothic" pitchFamily="34" charset="0"/>
              </a:rPr>
              <a:t>режиме </a:t>
            </a:r>
            <a:r>
              <a:rPr lang="en-US" sz="1600" b="1" i="1" dirty="0">
                <a:solidFill>
                  <a:prstClr val="black"/>
                </a:solidFill>
                <a:latin typeface="Century Gothic" pitchFamily="34" charset="0"/>
              </a:rPr>
              <a:t>online</a:t>
            </a:r>
            <a:endParaRPr lang="ru-RU" sz="1600" dirty="0">
              <a:solidFill>
                <a:prstClr val="black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69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524100" y="2786058"/>
            <a:ext cx="73581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2800" b="1" dirty="0">
                <a:solidFill>
                  <a:srgbClr val="0070C0"/>
                </a:solidFill>
                <a:latin typeface="Century Gothic" pitchFamily="34" charset="0"/>
              </a:rPr>
              <a:t>БЛАГОДАРЮ ЗА ВНИМАНИЕ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287688" y="5572282"/>
            <a:ext cx="542925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b="1" dirty="0">
                <a:solidFill>
                  <a:prstClr val="black"/>
                </a:solidFill>
                <a:latin typeface="Century Gothic" pitchFamily="34" charset="0"/>
              </a:rPr>
              <a:t>Национальный центр независимой </a:t>
            </a:r>
            <a:r>
              <a:rPr lang="ru-RU" altLang="ru-RU" sz="1200" b="1" dirty="0" err="1">
                <a:solidFill>
                  <a:prstClr val="black"/>
                </a:solidFill>
                <a:latin typeface="Century Gothic" pitchFamily="34" charset="0"/>
              </a:rPr>
              <a:t>экзаменации</a:t>
            </a:r>
            <a:endParaRPr lang="ru-RU" sz="1200" b="1" dirty="0">
              <a:solidFill>
                <a:prstClr val="black"/>
              </a:solidFill>
              <a:latin typeface="Century Gothic" pitchFamily="34" charset="0"/>
            </a:endParaRPr>
          </a:p>
          <a:p>
            <a:pPr algn="ctr"/>
            <a:r>
              <a:rPr lang="ru-RU" sz="1200" b="1" dirty="0">
                <a:solidFill>
                  <a:prstClr val="black"/>
                </a:solidFill>
                <a:latin typeface="Century Gothic" pitchFamily="34" charset="0"/>
              </a:rPr>
              <a:t>Контакты:</a:t>
            </a:r>
          </a:p>
          <a:p>
            <a:pPr algn="ctr"/>
            <a:r>
              <a:rPr lang="ru-RU" sz="1200" dirty="0">
                <a:solidFill>
                  <a:prstClr val="black"/>
                </a:solidFill>
                <a:latin typeface="Century Gothic" pitchFamily="34" charset="0"/>
              </a:rPr>
              <a:t>Республика Казахстан,  г. Астана, ул. </a:t>
            </a:r>
            <a:r>
              <a:rPr lang="ru-RU" sz="1200" dirty="0" err="1">
                <a:solidFill>
                  <a:prstClr val="black"/>
                </a:solidFill>
                <a:latin typeface="Century Gothic" pitchFamily="34" charset="0"/>
              </a:rPr>
              <a:t>Мәңгілік </a:t>
            </a:r>
            <a:r>
              <a:rPr lang="ru-RU" sz="1200" dirty="0">
                <a:solidFill>
                  <a:prstClr val="black"/>
                </a:solidFill>
                <a:latin typeface="Century Gothic" pitchFamily="34" charset="0"/>
              </a:rPr>
              <a:t>ел 8, подъезд 18В</a:t>
            </a:r>
          </a:p>
          <a:p>
            <a:pPr algn="ctr"/>
            <a:r>
              <a:rPr lang="ru-RU" sz="1200" dirty="0">
                <a:solidFill>
                  <a:prstClr val="black"/>
                </a:solidFill>
                <a:latin typeface="Century Gothic" pitchFamily="34" charset="0"/>
              </a:rPr>
              <a:t>тел: +7 (7172) 700-950 </a:t>
            </a:r>
            <a:r>
              <a:rPr lang="ru-RU" sz="1200">
                <a:solidFill>
                  <a:prstClr val="black"/>
                </a:solidFill>
                <a:latin typeface="Century Gothic" pitchFamily="34" charset="0"/>
              </a:rPr>
              <a:t>(вн.1063</a:t>
            </a:r>
            <a:r>
              <a:rPr lang="ru-RU" sz="1200" dirty="0">
                <a:solidFill>
                  <a:prstClr val="black"/>
                </a:solidFill>
                <a:latin typeface="Century Gothic" pitchFamily="34" charset="0"/>
              </a:rPr>
              <a:t>, 1064)</a:t>
            </a:r>
          </a:p>
          <a:p>
            <a:pPr algn="ctr"/>
            <a:r>
              <a:rPr lang="ru-RU" sz="1200" dirty="0" err="1">
                <a:solidFill>
                  <a:prstClr val="black"/>
                </a:solidFill>
                <a:latin typeface="Century Gothic" pitchFamily="34" charset="0"/>
              </a:rPr>
              <a:t>e-mail</a:t>
            </a:r>
            <a:r>
              <a:rPr lang="ru-RU" sz="1200" dirty="0">
                <a:solidFill>
                  <a:prstClr val="black"/>
                </a:solidFill>
                <a:latin typeface="Century Gothic" pitchFamily="34" charset="0"/>
              </a:rPr>
              <a:t>: </a:t>
            </a:r>
            <a:r>
              <a:rPr lang="ru-RU" sz="1200" dirty="0" err="1">
                <a:solidFill>
                  <a:prstClr val="black"/>
                </a:solidFill>
                <a:latin typeface="Century Gothic" pitchFamily="34" charset="0"/>
                <a:hlinkClick r:id="rId2"/>
              </a:rPr>
              <a:t>office@ncie.kz</a:t>
            </a:r>
            <a:endParaRPr lang="ru-RU" sz="1200" dirty="0">
              <a:solidFill>
                <a:prstClr val="black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403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28445" y="480447"/>
            <a:ext cx="7920380" cy="656132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>
                <a:latin typeface="+mn-lt"/>
                <a:cs typeface="Times New Roman" panose="02020603050405020304" pitchFamily="18" charset="0"/>
              </a:rPr>
              <a:t>Независимая Оценка на сертификацию и</a:t>
            </a:r>
            <a:br>
              <a:rPr lang="ru-RU" sz="2400" b="1" dirty="0">
                <a:latin typeface="+mn-lt"/>
                <a:cs typeface="Times New Roman" panose="02020603050405020304" pitchFamily="18" charset="0"/>
              </a:rPr>
            </a:br>
            <a:r>
              <a:rPr lang="ru-RU" sz="2400" b="1" dirty="0">
                <a:latin typeface="+mn-lt"/>
                <a:cs typeface="Times New Roman" panose="02020603050405020304" pitchFamily="18" charset="0"/>
              </a:rPr>
              <a:t> квалификационную категорию в Казахстане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753474" y="3894487"/>
            <a:ext cx="3237223" cy="20573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ru-RU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086350" y="2931586"/>
            <a:ext cx="3809999" cy="108263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 defTabSz="685800"/>
            <a:r>
              <a:rPr lang="ru-RU" sz="1600" b="1" dirty="0" smtClean="0">
                <a:ln w="0"/>
                <a:solidFill>
                  <a:schemeClr val="tx1"/>
                </a:solidFill>
                <a:cs typeface="Times New Roman" panose="02020603050405020304" pitchFamily="18" charset="0"/>
              </a:rPr>
              <a:t>Центр </a:t>
            </a:r>
            <a:r>
              <a:rPr lang="ru-RU" sz="1600" b="1" dirty="0">
                <a:ln w="0"/>
                <a:solidFill>
                  <a:schemeClr val="tx1"/>
                </a:solidFill>
                <a:cs typeface="Times New Roman" panose="02020603050405020304" pitchFamily="18" charset="0"/>
              </a:rPr>
              <a:t>оценки знаний и </a:t>
            </a:r>
            <a:r>
              <a:rPr lang="ru-RU" sz="1600" b="1" dirty="0" smtClean="0">
                <a:ln w="0"/>
                <a:solidFill>
                  <a:schemeClr val="tx1"/>
                </a:solidFill>
                <a:cs typeface="Times New Roman" panose="02020603050405020304" pitchFamily="18" charset="0"/>
              </a:rPr>
              <a:t>навыков</a:t>
            </a:r>
          </a:p>
          <a:p>
            <a:pPr algn="ctr" defTabSz="685800"/>
            <a:r>
              <a:rPr lang="ru-RU" sz="1600" b="1" dirty="0" smtClean="0">
                <a:ln w="0"/>
                <a:solidFill>
                  <a:schemeClr val="tx1"/>
                </a:solidFill>
                <a:cs typeface="Times New Roman" panose="02020603050405020304" pitchFamily="18" charset="0"/>
              </a:rPr>
              <a:t> РЦРЗ </a:t>
            </a:r>
            <a:r>
              <a:rPr lang="ru-RU" sz="1600" b="1" dirty="0">
                <a:ln w="0"/>
                <a:solidFill>
                  <a:schemeClr val="tx1"/>
                </a:solidFill>
                <a:cs typeface="Times New Roman" panose="02020603050405020304" pitchFamily="18" charset="0"/>
              </a:rPr>
              <a:t>МЗ РК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8037" y="2987850"/>
            <a:ext cx="2386355" cy="155191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ru-RU" sz="1600" b="1" dirty="0">
                <a:solidFill>
                  <a:schemeClr val="tx1"/>
                </a:solidFill>
                <a:cs typeface="Calibri" panose="020F0502020204030204" pitchFamily="34" charset="0"/>
              </a:rPr>
              <a:t>Комитет контроля медицинской и фармацевтической деятельности МЗ </a:t>
            </a:r>
            <a:r>
              <a:rPr lang="ru-RU" sz="1600" b="1" dirty="0" smtClean="0">
                <a:solidFill>
                  <a:schemeClr val="tx1"/>
                </a:solidFill>
                <a:cs typeface="Calibri" panose="020F0502020204030204" pitchFamily="34" charset="0"/>
              </a:rPr>
              <a:t>РК</a:t>
            </a:r>
            <a:endParaRPr lang="ru-RU" sz="1600" b="1" dirty="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013890443"/>
              </p:ext>
            </p:extLst>
          </p:nvPr>
        </p:nvGraphicFramePr>
        <p:xfrm>
          <a:off x="343176" y="5428962"/>
          <a:ext cx="11514172" cy="6184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2" name="Picture 2" descr="C:\Users\Чина\Desktop\kz_logo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49737" y="2025777"/>
            <a:ext cx="1042954" cy="1034948"/>
          </a:xfrm>
          <a:prstGeom prst="rect">
            <a:avLst/>
          </a:prstGeom>
          <a:noFill/>
        </p:spPr>
      </p:pic>
      <p:sp>
        <p:nvSpPr>
          <p:cNvPr id="23" name="Прямоугольник 22"/>
          <p:cNvSpPr/>
          <p:nvPr/>
        </p:nvSpPr>
        <p:spPr>
          <a:xfrm>
            <a:off x="9135868" y="3182638"/>
            <a:ext cx="296914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600" b="1" dirty="0" smtClean="0">
                <a:solidFill>
                  <a:srgbClr val="0070C0"/>
                </a:solidFill>
                <a:latin typeface="Calibri (Основной текст)"/>
                <a:ea typeface="Tahoma" pitchFamily="34" charset="0"/>
                <a:cs typeface="Tahoma" pitchFamily="34" charset="0"/>
              </a:rPr>
              <a:t>Национальный центр независимой </a:t>
            </a:r>
            <a:r>
              <a:rPr lang="ru-RU" altLang="ru-RU" sz="1600" b="1" dirty="0" err="1" smtClean="0">
                <a:solidFill>
                  <a:srgbClr val="0070C0"/>
                </a:solidFill>
                <a:latin typeface="Calibri (Основной текст)"/>
                <a:ea typeface="Tahoma" pitchFamily="34" charset="0"/>
                <a:cs typeface="Tahoma" pitchFamily="34" charset="0"/>
              </a:rPr>
              <a:t>экзаменации</a:t>
            </a:r>
            <a:endParaRPr lang="ru-RU" altLang="ru-RU" sz="1600" b="1" dirty="0" smtClean="0">
              <a:solidFill>
                <a:srgbClr val="0070C0"/>
              </a:solidFill>
              <a:latin typeface="Calibri (Основной текст)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altLang="ru-RU" sz="1600" b="1" dirty="0" smtClean="0">
                <a:solidFill>
                  <a:srgbClr val="0070C0"/>
                </a:solidFill>
                <a:latin typeface="Calibri (Основной текст)"/>
                <a:ea typeface="Tahoma" pitchFamily="34" charset="0"/>
                <a:cs typeface="Tahoma" pitchFamily="34" charset="0"/>
              </a:rPr>
              <a:t>РОО </a:t>
            </a:r>
          </a:p>
        </p:txBody>
      </p:sp>
      <p:pic>
        <p:nvPicPr>
          <p:cNvPr id="24" name="Picture 2" descr="C:\Users\zhumagulova_k\Desktop\logo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448090" y="1764853"/>
            <a:ext cx="1087228" cy="1098789"/>
          </a:xfrm>
          <a:prstGeom prst="rect">
            <a:avLst/>
          </a:prstGeom>
          <a:noFill/>
        </p:spPr>
      </p:pic>
      <p:sp>
        <p:nvSpPr>
          <p:cNvPr id="3" name="Выгнутая вверх стрелка 2"/>
          <p:cNvSpPr/>
          <p:nvPr/>
        </p:nvSpPr>
        <p:spPr>
          <a:xfrm>
            <a:off x="7448551" y="1796289"/>
            <a:ext cx="2069208" cy="870711"/>
          </a:xfrm>
          <a:prstGeom prst="curvedDownArrow">
            <a:avLst>
              <a:gd name="adj1" fmla="val 25000"/>
              <a:gd name="adj2" fmla="val 21125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511557" y="4643845"/>
            <a:ext cx="2574793" cy="5586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Проект ВБРР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805081" y="2964892"/>
            <a:ext cx="1964882" cy="15131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Республиканский центр развития здравоохранения МЗ РК</a:t>
            </a:r>
            <a:endParaRPr lang="ru-RU" sz="1600" b="1" dirty="0">
              <a:solidFill>
                <a:schemeClr val="tx1"/>
              </a:solidFill>
            </a:endParaRPr>
          </a:p>
        </p:txBody>
      </p:sp>
      <p:pic>
        <p:nvPicPr>
          <p:cNvPr id="19" name="Picture 3" descr="C:\Users\shynybekova_zh\Desktop\Фот\рцрз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246699" y="1873171"/>
            <a:ext cx="1104507" cy="110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40160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49346" y="3011792"/>
            <a:ext cx="3982071" cy="181909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b="1" dirty="0">
                <a:solidFill>
                  <a:schemeClr val="tx2"/>
                </a:solidFill>
                <a:latin typeface="Century Gothic" pitchFamily="34" charset="0"/>
                <a:cs typeface="Times New Roman" panose="02020603050405020304" pitchFamily="18" charset="0"/>
              </a:rPr>
              <a:t>RCHD </a:t>
            </a:r>
            <a:r>
              <a:rPr lang="en-US" sz="1400" b="1" dirty="0">
                <a:solidFill>
                  <a:schemeClr val="tx2"/>
                </a:solidFill>
                <a:latin typeface="Century Gothic" pitchFamily="34" charset="0"/>
              </a:rPr>
              <a:t>(KZ) 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tx2"/>
                </a:solidFill>
                <a:latin typeface="Century Gothic" pitchFamily="34" charset="0"/>
              </a:rPr>
              <a:t>РГП на ПХВ «Республиканский центр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tx2"/>
                </a:solidFill>
                <a:latin typeface="Century Gothic" pitchFamily="34" charset="0"/>
              </a:rPr>
              <a:t> развития здравоохранения»  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tx2"/>
                </a:solidFill>
                <a:latin typeface="Century Gothic" pitchFamily="34" charset="0"/>
              </a:rPr>
              <a:t>Министерства здравоохранения Республики Казахстан</a:t>
            </a:r>
            <a:endParaRPr lang="kk-KZ" sz="14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72349" y="3015175"/>
            <a:ext cx="3150907" cy="181232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 smtClean="0">
                <a:solidFill>
                  <a:schemeClr val="tx2"/>
                </a:solidFill>
                <a:latin typeface="Century Gothic" pitchFamily="34" charset="0"/>
              </a:rPr>
              <a:t>NCIE  </a:t>
            </a:r>
            <a:r>
              <a:rPr lang="en-US" sz="1600" b="1" dirty="0">
                <a:solidFill>
                  <a:schemeClr val="tx2"/>
                </a:solidFill>
                <a:latin typeface="Century Gothic" pitchFamily="34" charset="0"/>
              </a:rPr>
              <a:t>(KZ) </a:t>
            </a:r>
            <a:endParaRPr lang="ru-RU" sz="1600" b="1" dirty="0">
              <a:solidFill>
                <a:schemeClr val="tx2"/>
              </a:solidFill>
              <a:latin typeface="Century Gothic" pitchFamily="34" charset="0"/>
            </a:endParaRPr>
          </a:p>
          <a:p>
            <a:pPr algn="ctr">
              <a:defRPr/>
            </a:pPr>
            <a:r>
              <a:rPr lang="kk-KZ" sz="1600" b="1" dirty="0">
                <a:solidFill>
                  <a:schemeClr val="tx2"/>
                </a:solidFill>
                <a:latin typeface="Century Gothic" pitchFamily="34" charset="0"/>
              </a:rPr>
              <a:t>Неправительственная некоммерческая независимая организация </a:t>
            </a:r>
            <a:r>
              <a:rPr lang="kk-KZ" sz="1600" b="1" dirty="0" smtClean="0">
                <a:solidFill>
                  <a:prstClr val="white"/>
                </a:solidFill>
                <a:latin typeface="Century Gothic" pitchFamily="34" charset="0"/>
              </a:rPr>
              <a:t>.</a:t>
            </a:r>
          </a:p>
          <a:p>
            <a:pPr algn="ctr">
              <a:defRPr/>
            </a:pPr>
            <a:r>
              <a:rPr lang="kk-KZ" sz="1600" b="1" dirty="0" smtClean="0">
                <a:solidFill>
                  <a:prstClr val="white"/>
                </a:solidFill>
                <a:latin typeface="Century Gothic" pitchFamily="34" charset="0"/>
              </a:rPr>
              <a:t> </a:t>
            </a:r>
            <a:r>
              <a:rPr lang="kk-KZ" sz="1100" b="1" dirty="0" smtClean="0">
                <a:solidFill>
                  <a:prstClr val="white"/>
                </a:solidFill>
                <a:latin typeface="Calibri"/>
              </a:rPr>
              <a:t> </a:t>
            </a:r>
            <a:r>
              <a:rPr lang="en-US" sz="1100" b="1" dirty="0" smtClean="0">
                <a:solidFill>
                  <a:prstClr val="white"/>
                </a:solidFill>
                <a:latin typeface="Calibri"/>
              </a:rPr>
              <a:t> </a:t>
            </a:r>
            <a:endParaRPr lang="en-US" sz="1100" b="1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" name="Picture 3" descr="C:\Users\shynybekova_zh\Desktop\Фот\рцрз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88127" y="1590724"/>
            <a:ext cx="1104507" cy="945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4" descr="C:\Users\shynybekova_zh\Desktop\Фот\Безымянный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09300" y="1590724"/>
            <a:ext cx="1206563" cy="945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Прямоугольник 18"/>
          <p:cNvSpPr/>
          <p:nvPr/>
        </p:nvSpPr>
        <p:spPr>
          <a:xfrm>
            <a:off x="8664188" y="3023694"/>
            <a:ext cx="3399005" cy="18190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 b="1" dirty="0" smtClean="0">
              <a:solidFill>
                <a:prstClr val="white"/>
              </a:solidFill>
              <a:latin typeface="Century Gothic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ru-RU" sz="1200" b="1" dirty="0" smtClean="0">
                <a:solidFill>
                  <a:schemeClr val="tx2"/>
                </a:solidFill>
                <a:latin typeface="Century Gothic" pitchFamily="34" charset="0"/>
                <a:cs typeface="Arial" panose="020B0604020202020204" pitchFamily="34" charset="0"/>
              </a:rPr>
              <a:t>NBME</a:t>
            </a:r>
            <a:endParaRPr lang="ru-RU" sz="1200" b="1" dirty="0">
              <a:solidFill>
                <a:schemeClr val="tx2"/>
              </a:solidFill>
              <a:latin typeface="Century Gothic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ru-RU" sz="1100" b="1" dirty="0">
                <a:solidFill>
                  <a:schemeClr val="tx2"/>
                </a:solidFill>
                <a:latin typeface="Century Gothic" pitchFamily="34" charset="0"/>
                <a:cs typeface="Times New Roman" panose="02020603050405020304" pitchFamily="18" charset="0"/>
              </a:rPr>
              <a:t> </a:t>
            </a:r>
            <a:r>
              <a:rPr lang="ru-RU" sz="1100" b="1" dirty="0" smtClean="0">
                <a:solidFill>
                  <a:schemeClr val="tx2"/>
                </a:solidFill>
                <a:latin typeface="Century Gothic" pitchFamily="34" charset="0"/>
                <a:cs typeface="Times New Roman" panose="02020603050405020304" pitchFamily="18" charset="0"/>
              </a:rPr>
              <a:t>      </a:t>
            </a:r>
            <a:r>
              <a:rPr lang="en-US" sz="1400" b="1" dirty="0" smtClean="0">
                <a:solidFill>
                  <a:schemeClr val="tx2"/>
                </a:solidFill>
                <a:latin typeface="Century Gothic" pitchFamily="34" charset="0"/>
                <a:cs typeface="Arial" panose="020B0604020202020204" pitchFamily="34" charset="0"/>
              </a:rPr>
              <a:t>National </a:t>
            </a:r>
            <a:r>
              <a:rPr lang="en-US" sz="1400" b="1" dirty="0">
                <a:solidFill>
                  <a:schemeClr val="tx2"/>
                </a:solidFill>
                <a:latin typeface="Century Gothic" pitchFamily="34" charset="0"/>
                <a:cs typeface="Arial" panose="020B0604020202020204" pitchFamily="34" charset="0"/>
              </a:rPr>
              <a:t>Board Medical Examiners </a:t>
            </a:r>
            <a:endParaRPr lang="ru-RU" sz="1400" b="1" dirty="0">
              <a:solidFill>
                <a:schemeClr val="tx2"/>
              </a:solidFill>
              <a:latin typeface="Century Gothic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ru-RU" sz="1400" b="1" dirty="0">
                <a:solidFill>
                  <a:schemeClr val="tx2"/>
                </a:solidFill>
                <a:latin typeface="Century Gothic" pitchFamily="34" charset="0"/>
                <a:cs typeface="Times New Roman" panose="02020603050405020304" pitchFamily="18" charset="0"/>
              </a:rPr>
              <a:t>неправительственная, некоммерческая, 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tx2"/>
                </a:solidFill>
                <a:latin typeface="Century Gothic" pitchFamily="34" charset="0"/>
                <a:cs typeface="Times New Roman" panose="02020603050405020304" pitchFamily="18" charset="0"/>
              </a:rPr>
              <a:t>независимая организация</a:t>
            </a:r>
          </a:p>
          <a:p>
            <a:pPr algn="ctr">
              <a:defRPr/>
            </a:pPr>
            <a:endParaRPr lang="en-US" sz="1000" b="1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25" name="Picture 5" descr="C:\Users\shynybekova_zh\Desktop\Фот\563243_396535117035302_730328075_n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733062" y="1649030"/>
            <a:ext cx="1023568" cy="886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2724150" y="343696"/>
            <a:ext cx="6648450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СТРАТЕГИЧЕСКОЕ ПАРТНЕРСТВО</a:t>
            </a:r>
            <a:endParaRPr lang="ru-RU" sz="2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427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1"/>
          <p:cNvSpPr txBox="1">
            <a:spLocks/>
          </p:cNvSpPr>
          <p:nvPr/>
        </p:nvSpPr>
        <p:spPr>
          <a:xfrm>
            <a:off x="1340346" y="266429"/>
            <a:ext cx="8496944" cy="519692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 w="11430"/>
                <a:uLnTx/>
                <a:uFillTx/>
                <a:latin typeface="+mn-lt"/>
                <a:ea typeface="+mj-ea"/>
                <a:cs typeface="+mj-cs"/>
              </a:rPr>
              <a:t>ВЗАИМОДЕЙСТВИЕ 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255321" y="4023200"/>
            <a:ext cx="2232248" cy="5123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правлени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дравоохранения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136447" y="3265462"/>
            <a:ext cx="2346977" cy="6155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дицинские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олледж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13845" y="2381402"/>
            <a:ext cx="2346977" cy="7175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рганизации последипломного образования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575469" y="5776312"/>
            <a:ext cx="227072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ечебно-профилактические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рганизаци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709713" y="4684229"/>
            <a:ext cx="2293346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фессиональные</a:t>
            </a: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ассоциации</a:t>
            </a: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ПО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84326" y="4090124"/>
            <a:ext cx="2160240" cy="6155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учные центры/НИИ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003079" y="1385829"/>
            <a:ext cx="1171478" cy="38054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ЦНЭ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694211" y="2842055"/>
            <a:ext cx="2270719" cy="8972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епартаменты КООЗ МЗ РК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8140592" y="2192751"/>
            <a:ext cx="2346977" cy="53159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ЦРЗ МЗ</a:t>
            </a:r>
            <a:r>
              <a:rPr kumimoji="0" lang="ru-RU" sz="18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РК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234497" y="4872233"/>
            <a:ext cx="2248927" cy="5910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ругие органы и организации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694211" y="1471186"/>
            <a:ext cx="2308848" cy="5360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З РК 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136448" y="1483196"/>
            <a:ext cx="2346977" cy="6458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дицинские ВУЗы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645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245635" y="1685001"/>
            <a:ext cx="5035493" cy="3982223"/>
          </a:xfrm>
          <a:prstGeom prst="roundRect">
            <a:avLst>
              <a:gd name="adj" fmla="val 8521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531309" y="1815366"/>
            <a:ext cx="3143272" cy="43180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(Основной текст)"/>
                <a:ea typeface="+mn-ea"/>
                <a:cs typeface="+mn-cs"/>
              </a:rPr>
              <a:t>НЕЗАВИСИМОСТЬ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014258" y="2316563"/>
            <a:ext cx="3143272" cy="68580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(Основной текст)"/>
                <a:ea typeface="+mn-ea"/>
                <a:cs typeface="+mn-cs"/>
              </a:rPr>
              <a:t>НЕКОММЕРЧЕСКАЯ ДЕЯТЕЛЬНОСТЬ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442611" y="3071759"/>
            <a:ext cx="3143272" cy="506865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(Основной текст)"/>
                <a:ea typeface="+mn-ea"/>
                <a:cs typeface="+mn-cs"/>
              </a:rPr>
              <a:t>МУЛЬТИДИСЦИПЛИНАР-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(Основной текст)"/>
                <a:ea typeface="+mn-ea"/>
                <a:cs typeface="+mn-cs"/>
              </a:rPr>
              <a:t>НОСТЬ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014258" y="3704815"/>
            <a:ext cx="3143272" cy="509588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(Основной текст)"/>
                <a:ea typeface="+mn-ea"/>
                <a:cs typeface="+mn-cs"/>
              </a:rPr>
              <a:t>СТАНДАРТНОСТЬ ПОДХОДА</a:t>
            </a:r>
            <a:endParaRPr kumimoji="0" lang="ru-RU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(Основной текст)"/>
              <a:ea typeface="+mn-ea"/>
              <a:cs typeface="+mn-cs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42611" y="4281076"/>
            <a:ext cx="3143272" cy="52228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(Основной текст)"/>
                <a:ea typeface="+mn-ea"/>
                <a:cs typeface="+mn-cs"/>
              </a:rPr>
              <a:t>ОБЪЕКТИВНОСТЬ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924316" y="4880261"/>
            <a:ext cx="3143272" cy="50958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(Основной текст)"/>
                <a:ea typeface="+mn-ea"/>
                <a:cs typeface="+mn-cs"/>
              </a:rPr>
              <a:t>ПРОЗРАЧНОСТЬ</a:t>
            </a:r>
          </a:p>
        </p:txBody>
      </p:sp>
      <p:sp>
        <p:nvSpPr>
          <p:cNvPr id="9" name="Стрелка вниз 8"/>
          <p:cNvSpPr/>
          <p:nvPr/>
        </p:nvSpPr>
        <p:spPr>
          <a:xfrm>
            <a:off x="1713628" y="1040358"/>
            <a:ext cx="1610598" cy="397557"/>
          </a:xfrm>
          <a:prstGeom prst="down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34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6820048" y="342160"/>
            <a:ext cx="4299708" cy="65412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457200" marR="0" lvl="0" indent="-45720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заимодействие Н</a:t>
            </a:r>
            <a:r>
              <a:rPr kumimoji="0" lang="kk-KZ" sz="2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ЦНЭ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с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ругими…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3"/>
          <p:cNvSpPr txBox="1">
            <a:spLocks noChangeArrowheads="1"/>
          </p:cNvSpPr>
          <p:nvPr/>
        </p:nvSpPr>
        <p:spPr bwMode="auto">
          <a:xfrm>
            <a:off x="6196038" y="1167765"/>
            <a:ext cx="5908568" cy="738664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18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меморандумов 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сотрудничестве и взаимодействии с  организациями здравоохранения </a:t>
            </a:r>
          </a:p>
        </p:txBody>
      </p:sp>
      <p:sp>
        <p:nvSpPr>
          <p:cNvPr id="10" name="TextBox 3"/>
          <p:cNvSpPr txBox="1">
            <a:spLocks noChangeArrowheads="1"/>
          </p:cNvSpPr>
          <p:nvPr/>
        </p:nvSpPr>
        <p:spPr bwMode="auto">
          <a:xfrm>
            <a:off x="531309" y="151552"/>
            <a:ext cx="4247030" cy="830997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 Light" panose="020F0302020204030204" pitchFamily="34" charset="0"/>
              </a:rPr>
              <a:t>Принципы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 Light" panose="020F0302020204030204" pitchFamily="34" charset="0"/>
              </a:rPr>
              <a:t>оценки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 Light" panose="020F0302020204030204" pitchFamily="34" charset="0"/>
              </a:rPr>
              <a:t>знаний и навыков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cs typeface="Calibri Light" panose="020F0302020204030204" pitchFamily="34" charset="0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6343650" y="2028825"/>
            <a:ext cx="5543549" cy="1967285"/>
            <a:chOff x="4286248" y="2000240"/>
            <a:chExt cx="4572032" cy="1148237"/>
          </a:xfrm>
        </p:grpSpPr>
        <p:pic>
          <p:nvPicPr>
            <p:cNvPr id="26637" name="Picture 13" descr="C:\Users\zhumagulova_k\Desktop\b09a53_ab04155caf5f43e5b4bdf3aee4f3168f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286380" y="2071678"/>
              <a:ext cx="1214446" cy="912144"/>
            </a:xfrm>
            <a:prstGeom prst="rect">
              <a:avLst/>
            </a:prstGeom>
            <a:noFill/>
          </p:spPr>
        </p:pic>
        <p:pic>
          <p:nvPicPr>
            <p:cNvPr id="26638" name="Picture 14" descr="C:\Users\zhumagulova_k\Desktop\unnamed.jp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286512" y="2000240"/>
              <a:ext cx="857256" cy="857256"/>
            </a:xfrm>
            <a:prstGeom prst="rect">
              <a:avLst/>
            </a:prstGeom>
            <a:noFill/>
          </p:spPr>
        </p:pic>
        <p:pic>
          <p:nvPicPr>
            <p:cNvPr id="26642" name="Picture 18" descr="C:\Users\zhumagulova_k\Desktop\4b2187d57e6deff3950d68bc683a0ed9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929586" y="2214554"/>
              <a:ext cx="928694" cy="633405"/>
            </a:xfrm>
            <a:prstGeom prst="rect">
              <a:avLst/>
            </a:prstGeom>
            <a:noFill/>
          </p:spPr>
        </p:pic>
        <p:pic>
          <p:nvPicPr>
            <p:cNvPr id="26639" name="Picture 15" descr="C:\Users\zhumagulova_k\Desktop\Без названия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143777" y="2214554"/>
              <a:ext cx="857247" cy="857247"/>
            </a:xfrm>
            <a:prstGeom prst="rect">
              <a:avLst/>
            </a:prstGeom>
            <a:noFill/>
          </p:spPr>
        </p:pic>
        <p:pic>
          <p:nvPicPr>
            <p:cNvPr id="26640" name="Picture 16" descr="C:\Users\zhumagulova_k\Desktop\Без названия (1)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857752" y="2357430"/>
              <a:ext cx="766760" cy="791047"/>
            </a:xfrm>
            <a:prstGeom prst="rect">
              <a:avLst/>
            </a:prstGeom>
            <a:noFill/>
          </p:spPr>
        </p:pic>
        <p:pic>
          <p:nvPicPr>
            <p:cNvPr id="26641" name="Picture 17" descr="C:\Users\zhumagulova_k\Desktop\орпогр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286248" y="2071678"/>
              <a:ext cx="785818" cy="785818"/>
            </a:xfrm>
            <a:prstGeom prst="rect">
              <a:avLst/>
            </a:prstGeom>
            <a:noFill/>
          </p:spPr>
        </p:pic>
      </p:grpSp>
      <p:pic>
        <p:nvPicPr>
          <p:cNvPr id="2050" name="Picture 2" descr="http://www.kazmuno.kz/img/logo-ru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3864740"/>
            <a:ext cx="1885071" cy="93862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722255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15299" y="179109"/>
            <a:ext cx="6721311" cy="641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ВЫСШИЙ КОЛЛЕГИАЛЬНЫЙ СОВЕТ НЦНЭ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54144" y="904973"/>
            <a:ext cx="10048973" cy="56560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/>
          </a:p>
          <a:p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tx1"/>
                </a:solidFill>
              </a:rPr>
              <a:t>Депутат Мажилиса Парламента Республики </a:t>
            </a:r>
            <a:r>
              <a:rPr lang="ru-RU" sz="1400" b="1" dirty="0" smtClean="0">
                <a:solidFill>
                  <a:schemeClr val="tx1"/>
                </a:solidFill>
              </a:rPr>
              <a:t>Казахстан</a:t>
            </a:r>
          </a:p>
          <a:p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tx1"/>
                </a:solidFill>
              </a:rPr>
              <a:t>Депутат Сената Парламента Республики </a:t>
            </a:r>
            <a:r>
              <a:rPr lang="ru-RU" sz="1400" b="1" dirty="0" smtClean="0">
                <a:solidFill>
                  <a:schemeClr val="tx1"/>
                </a:solidFill>
              </a:rPr>
              <a:t>Казахстан</a:t>
            </a:r>
          </a:p>
          <a:p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tx1"/>
                </a:solidFill>
              </a:rPr>
              <a:t>Президент ОЮЛ «Республиканский союз независимой экспертизы в секторе здравоохранения</a:t>
            </a:r>
            <a:r>
              <a:rPr lang="ru-RU" sz="1400" b="1" dirty="0" smtClean="0">
                <a:solidFill>
                  <a:schemeClr val="tx1"/>
                </a:solidFill>
              </a:rPr>
              <a:t>»</a:t>
            </a:r>
          </a:p>
          <a:p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tx1"/>
                </a:solidFill>
              </a:rPr>
              <a:t>Ректор АО «Медицинский университет Астана</a:t>
            </a:r>
            <a:r>
              <a:rPr lang="ru-RU" sz="1400" b="1" dirty="0" smtClean="0">
                <a:solidFill>
                  <a:schemeClr val="tx1"/>
                </a:solidFill>
              </a:rPr>
              <a:t>»</a:t>
            </a:r>
          </a:p>
          <a:p>
            <a:r>
              <a:rPr lang="ru-RU" sz="1400" b="1" dirty="0">
                <a:solidFill>
                  <a:schemeClr val="tx1"/>
                </a:solidFill>
              </a:rPr>
              <a:t>  </a:t>
            </a:r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tx1"/>
                </a:solidFill>
              </a:rPr>
              <a:t>Руководитель Управления здравоохранения города </a:t>
            </a:r>
            <a:r>
              <a:rPr lang="ru-RU" sz="1400" b="1" dirty="0" smtClean="0">
                <a:solidFill>
                  <a:schemeClr val="tx1"/>
                </a:solidFill>
              </a:rPr>
              <a:t>Алматы</a:t>
            </a:r>
          </a:p>
          <a:p>
            <a:r>
              <a:rPr lang="ru-RU" sz="1400" b="1" dirty="0">
                <a:solidFill>
                  <a:schemeClr val="tx1"/>
                </a:solidFill>
              </a:rPr>
              <a:t> </a:t>
            </a:r>
            <a:endParaRPr lang="ru-RU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tx1"/>
                </a:solidFill>
                <a:cs typeface="Times New Roman" panose="02020603050405020304" pitchFamily="18" charset="0"/>
              </a:rPr>
              <a:t>Председатель Правления «Союз медицинских колледжей Казахстана»</a:t>
            </a:r>
            <a:endParaRPr lang="ru-RU" sz="1400" b="1" dirty="0" smtClean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tx1"/>
                </a:solidFill>
              </a:rPr>
              <a:t>Президент общественной организации «Казахстанская Ассоциация нейрохирургов</a:t>
            </a:r>
            <a:r>
              <a:rPr lang="ru-RU" sz="1400" b="1" dirty="0" smtClean="0">
                <a:solidFill>
                  <a:schemeClr val="tx1"/>
                </a:solidFill>
              </a:rPr>
              <a:t>»</a:t>
            </a:r>
          </a:p>
          <a:p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tx1"/>
                </a:solidFill>
              </a:rPr>
              <a:t>Председатель УМО Республиканского учебно-методического совета по группе специальностей - Здравоохранение и социальное обеспечение (медицина</a:t>
            </a:r>
            <a:r>
              <a:rPr lang="ru-RU" sz="1400" b="1" dirty="0" smtClean="0">
                <a:solidFill>
                  <a:schemeClr val="tx1"/>
                </a:solidFill>
              </a:rPr>
              <a:t>)</a:t>
            </a:r>
          </a:p>
          <a:p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tx1"/>
                </a:solidFill>
              </a:rPr>
              <a:t>Президент ОО «Независимая Ассоциация репродуктивной медицины</a:t>
            </a:r>
            <a:r>
              <a:rPr lang="ru-RU" sz="1400" b="1" dirty="0" smtClean="0">
                <a:solidFill>
                  <a:schemeClr val="tx1"/>
                </a:solidFill>
              </a:rPr>
              <a:t>»</a:t>
            </a:r>
          </a:p>
          <a:p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tx1"/>
                </a:solidFill>
              </a:rPr>
              <a:t>Председатель Правления РОО «Казахстанский альянс медицинских организации» </a:t>
            </a:r>
            <a:endParaRPr lang="ru-RU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tx1"/>
                </a:solidFill>
              </a:rPr>
              <a:t>Вице-президент ОЮЛ в ФА «Евразийская медицинская ассоциация</a:t>
            </a:r>
            <a:r>
              <a:rPr lang="ru-RU" sz="1400" b="1" dirty="0" smtClean="0">
                <a:solidFill>
                  <a:schemeClr val="tx1"/>
                </a:solidFill>
              </a:rPr>
              <a:t>»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b="1" dirty="0">
                <a:solidFill>
                  <a:schemeClr val="tx1"/>
                </a:solidFill>
              </a:rPr>
              <a:t>Председатель ОЮЛ «Казахстанская ассоциация частных медицинских структур</a:t>
            </a:r>
            <a:r>
              <a:rPr lang="ru-RU" sz="1400" b="1" dirty="0" smtClean="0">
                <a:solidFill>
                  <a:schemeClr val="tx1"/>
                </a:solidFill>
              </a:rPr>
              <a:t>»</a:t>
            </a:r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 algn="ctr">
              <a:buFont typeface="Wingdings" panose="05000000000000000000" pitchFamily="2" charset="2"/>
              <a:buChar char="q"/>
            </a:pPr>
            <a:endParaRPr lang="ru-RU" b="1" dirty="0" smtClean="0">
              <a:solidFill>
                <a:schemeClr val="tx1"/>
              </a:solidFill>
            </a:endParaRPr>
          </a:p>
          <a:p>
            <a:pPr algn="ctr"/>
            <a:endParaRPr lang="ru-RU" dirty="0" smtClean="0"/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26901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7493" y="293357"/>
            <a:ext cx="11301743" cy="667125"/>
          </a:xfr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>
            <a:noAutofit/>
          </a:bodyPr>
          <a:lstStyle/>
          <a:p>
            <a:pPr algn="ctr"/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800" b="1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цедура </a:t>
            </a:r>
            <a:r>
              <a:rPr lang="ru-RU" sz="28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ценки </a:t>
            </a:r>
            <a:r>
              <a:rPr lang="ru-RU" sz="2800" b="1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а сертификацию </a:t>
            </a:r>
            <a:r>
              <a:rPr lang="ru-RU" sz="28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 на </a:t>
            </a:r>
            <a:r>
              <a:rPr lang="ru-RU" sz="2800" b="1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оответствие категории</a:t>
            </a:r>
            <a:r>
              <a:rPr lang="ru-RU" sz="2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/>
            </a:r>
            <a:br>
              <a:rPr lang="ru-RU" sz="2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</a:br>
            <a:r>
              <a:rPr lang="ru-RU" sz="2000" b="1" dirty="0" smtClean="0"/>
              <a:t> </a:t>
            </a:r>
            <a:endParaRPr lang="ru-RU" sz="20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87494" y="960483"/>
            <a:ext cx="3946024" cy="136211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Претендент 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Знать требования к сертификации 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Выбор специальности( приказ№774 МЗ РК) 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Подача документов в онлайн режиме на сайте </a:t>
            </a:r>
            <a:r>
              <a:rPr lang="en-US" sz="1400" b="1" dirty="0" smtClean="0">
                <a:solidFill>
                  <a:schemeClr val="tx1"/>
                </a:solidFill>
                <a:hlinkClick r:id="rId3"/>
              </a:rPr>
              <a:t>www.qazexam.kz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65718" y="2518449"/>
            <a:ext cx="3946024" cy="113957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НЦНЭ 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Регистрация на оценку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Проведение оценки  (тестирование)  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Выдача результата оценки</a:t>
            </a:r>
            <a:endParaRPr lang="ru-RU" b="1" dirty="0" smtClean="0">
              <a:solidFill>
                <a:schemeClr val="tx1"/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61251" y="3863063"/>
            <a:ext cx="3946024" cy="13574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Претендент 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 Получение ЭЦП (электронной цифровой подписи)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 Подача документов на сертификацию через портал электронного правительства  </a:t>
            </a:r>
            <a:r>
              <a:rPr lang="en-US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www.elicense.kz</a:t>
            </a:r>
            <a:endParaRPr lang="ru-RU" sz="1400" b="1" dirty="0" smtClean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61251" y="5425563"/>
            <a:ext cx="4420175" cy="127454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«КООЗ МЗ РК» (Территориальное подразделение)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Регистрация  заявления 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Рассмотрение документов 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Выдача  сертификата или мотивированного  отказа </a:t>
            </a:r>
            <a:endParaRPr lang="ru-RU" b="1" dirty="0" smtClean="0">
              <a:solidFill>
                <a:schemeClr val="tx1"/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6430959" y="899551"/>
            <a:ext cx="3946024" cy="136211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Претендент 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Знать требования по присвоению </a:t>
            </a:r>
            <a:r>
              <a:rPr lang="ru-RU" sz="1400" b="1" dirty="0" err="1" smtClean="0">
                <a:solidFill>
                  <a:schemeClr val="tx1"/>
                </a:solidFill>
              </a:rPr>
              <a:t>квал.категории</a:t>
            </a:r>
            <a:r>
              <a:rPr lang="ru-RU" sz="1400" b="1" dirty="0" smtClean="0">
                <a:solidFill>
                  <a:schemeClr val="tx1"/>
                </a:solidFill>
              </a:rPr>
              <a:t>  (Приказ №531 МЗСР РК)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Выбор специальности( приказ№774 МЗ РК) 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Подача документов в онлайн режиме на сайте </a:t>
            </a:r>
            <a:r>
              <a:rPr lang="en-US" sz="1400" b="1" dirty="0" smtClean="0">
                <a:solidFill>
                  <a:schemeClr val="tx1"/>
                </a:solidFill>
                <a:hlinkClick r:id="rId3"/>
              </a:rPr>
              <a:t>www.qazexam.kz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462631" y="2443030"/>
            <a:ext cx="3946024" cy="13574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НЦНЭ 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Регистрация на оценку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Проведение оценки  (тестирование и оценка практических навыков)  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</a:rPr>
              <a:t>Выдача результата оценки</a:t>
            </a:r>
            <a:endParaRPr lang="ru-RU" b="1" dirty="0" smtClean="0">
              <a:solidFill>
                <a:schemeClr val="tx1"/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6462631" y="3917884"/>
            <a:ext cx="3946024" cy="13574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Претендент 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 Получение ЭЦП (электронной цифровой подписи)</a:t>
            </a:r>
          </a:p>
          <a:p>
            <a:pPr marL="342900" indent="-342900">
              <a:buAutoNum type="arabicPeriod"/>
            </a:pPr>
            <a:r>
              <a:rPr lang="ru-RU" sz="1400" b="1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 Подача документов  на категорию через портал электронного правительства  </a:t>
            </a:r>
            <a:r>
              <a:rPr lang="en-US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www.elicense.kz</a:t>
            </a:r>
            <a:endParaRPr lang="ru-RU" sz="1400" b="1" dirty="0" smtClean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22974" y="5456454"/>
            <a:ext cx="4013963" cy="128671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r>
              <a:rPr lang="ru-RU" sz="1300" b="1" dirty="0" smtClean="0">
                <a:solidFill>
                  <a:schemeClr val="tx1"/>
                </a:solidFill>
              </a:rPr>
              <a:t>«КООЗ МЗ РК» (Территориальное подразделение)</a:t>
            </a:r>
          </a:p>
          <a:p>
            <a:pPr marL="342900" indent="-342900">
              <a:buAutoNum type="arabicPeriod"/>
            </a:pPr>
            <a:r>
              <a:rPr lang="ru-RU" sz="1300" b="1" dirty="0" smtClean="0">
                <a:solidFill>
                  <a:schemeClr val="tx1"/>
                </a:solidFill>
              </a:rPr>
              <a:t>Регистрация  заявления </a:t>
            </a:r>
          </a:p>
          <a:p>
            <a:pPr marL="342900" indent="-342900">
              <a:buAutoNum type="arabicPeriod"/>
            </a:pPr>
            <a:r>
              <a:rPr lang="ru-RU" sz="1300" b="1" dirty="0" smtClean="0">
                <a:solidFill>
                  <a:schemeClr val="tx1"/>
                </a:solidFill>
              </a:rPr>
              <a:t>Рассмотрение документов </a:t>
            </a:r>
          </a:p>
          <a:p>
            <a:pPr marL="342900" indent="-342900">
              <a:buAutoNum type="arabicPeriod"/>
            </a:pPr>
            <a:r>
              <a:rPr lang="ru-RU" sz="1300" b="1" dirty="0" smtClean="0">
                <a:solidFill>
                  <a:schemeClr val="tx1"/>
                </a:solidFill>
              </a:rPr>
              <a:t>Выдача  свидетельства  или мотивированного  отказа </a:t>
            </a:r>
          </a:p>
          <a:p>
            <a:pPr algn="ctr"/>
            <a:endParaRPr lang="ru-RU" dirty="0"/>
          </a:p>
        </p:txBody>
      </p:sp>
      <p:sp>
        <p:nvSpPr>
          <p:cNvPr id="14" name="Shape 13"/>
          <p:cNvSpPr/>
          <p:nvPr/>
        </p:nvSpPr>
        <p:spPr>
          <a:xfrm rot="6951633">
            <a:off x="2520638" y="2111348"/>
            <a:ext cx="4503768" cy="3613072"/>
          </a:xfrm>
          <a:prstGeom prst="swooshArrow">
            <a:avLst>
              <a:gd name="adj1" fmla="val 16310"/>
              <a:gd name="adj2" fmla="val 31370"/>
            </a:avLst>
          </a:prstGeom>
          <a:solidFill>
            <a:srgbClr val="00B0F0">
              <a:alpha val="50000"/>
            </a:srgbClr>
          </a:solidFill>
          <a:ln>
            <a:solidFill>
              <a:srgbClr val="00B0F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15" name="Shape 14"/>
          <p:cNvSpPr/>
          <p:nvPr/>
        </p:nvSpPr>
        <p:spPr>
          <a:xfrm rot="7254310">
            <a:off x="8308978" y="2033543"/>
            <a:ext cx="4503768" cy="3613072"/>
          </a:xfrm>
          <a:prstGeom prst="swooshArrow">
            <a:avLst>
              <a:gd name="adj1" fmla="val 16310"/>
              <a:gd name="adj2" fmla="val 31370"/>
            </a:avLst>
          </a:prstGeom>
          <a:solidFill>
            <a:srgbClr val="00B0F0">
              <a:alpha val="50000"/>
            </a:srgbClr>
          </a:solidFill>
          <a:ln>
            <a:solidFill>
              <a:srgbClr val="00B0F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117699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231873"/>
            <a:ext cx="10515600" cy="709531"/>
          </a:xfrm>
        </p:spPr>
        <p:txBody>
          <a:bodyPr>
            <a:noAutofit/>
          </a:bodyPr>
          <a:lstStyle/>
          <a:p>
            <a:pPr algn="ctr"/>
            <a:r>
              <a:rPr lang="ru-RU" sz="2000" b="1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равнительные данные по категорированности специалистов РК  </a:t>
            </a:r>
            <a:r>
              <a:rPr lang="ru-RU" sz="20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о средним </a:t>
            </a:r>
            <a:r>
              <a:rPr lang="ru-RU" sz="2000" b="1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медицинским (профессиональным) образованием  </a:t>
            </a:r>
            <a:r>
              <a:rPr lang="ru-RU" sz="20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2017 год</a:t>
            </a:r>
            <a:r>
              <a:rPr lang="ru-RU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sz="2000" dirty="0">
              <a:latin typeface="+mn-lt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00497543"/>
              </p:ext>
            </p:extLst>
          </p:nvPr>
        </p:nvGraphicFramePr>
        <p:xfrm>
          <a:off x="838200" y="1196975"/>
          <a:ext cx="10515600" cy="4979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3077074"/>
              </p:ext>
            </p:extLst>
          </p:nvPr>
        </p:nvGraphicFramePr>
        <p:xfrm>
          <a:off x="1819373" y="1196975"/>
          <a:ext cx="8389856" cy="4553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05736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83980"/>
            <a:ext cx="10515600" cy="664482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400" b="1" i="1" dirty="0" smtClean="0"/>
              <a:t> </a:t>
            </a:r>
            <a:r>
              <a:rPr lang="ru-RU" sz="2200" b="1" dirty="0" smtClean="0">
                <a:latin typeface="+mn-lt"/>
                <a:cs typeface="Times New Roman" pitchFamily="18" charset="0"/>
              </a:rPr>
              <a:t>Итоги </a:t>
            </a:r>
            <a:r>
              <a:rPr lang="ru-RU" sz="2200" b="1" dirty="0">
                <a:latin typeface="+mn-lt"/>
                <a:cs typeface="Times New Roman" pitchFamily="18" charset="0"/>
              </a:rPr>
              <a:t>оценки подтверждения соответствия квалификации специалистов </a:t>
            </a:r>
            <a:r>
              <a:rPr lang="ru-RU" sz="2200" b="1" dirty="0" smtClean="0">
                <a:latin typeface="+mn-lt"/>
                <a:cs typeface="Times New Roman" pitchFamily="18" charset="0"/>
              </a:rPr>
              <a:t>со средним </a:t>
            </a:r>
            <a:r>
              <a:rPr lang="ru-RU" sz="2200" b="1" dirty="0">
                <a:latin typeface="+mn-lt"/>
                <a:cs typeface="Times New Roman" pitchFamily="18" charset="0"/>
              </a:rPr>
              <a:t>медицинским (профессиональным) </a:t>
            </a:r>
            <a:r>
              <a:rPr lang="ru-RU" sz="2200" b="1" dirty="0" smtClean="0">
                <a:latin typeface="+mn-lt"/>
                <a:cs typeface="Times New Roman" pitchFamily="18" charset="0"/>
              </a:rPr>
              <a:t>образованием</a:t>
            </a:r>
            <a:endParaRPr lang="ru-RU" sz="2200" b="1" i="1" dirty="0">
              <a:latin typeface="+mn-lt"/>
            </a:endParaRPr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8475048"/>
              </p:ext>
            </p:extLst>
          </p:nvPr>
        </p:nvGraphicFramePr>
        <p:xfrm>
          <a:off x="207389" y="1791091"/>
          <a:ext cx="10906812" cy="3506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19689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ZYkUJ3okSRlheRtK8fKQ"/>
</p:tagLst>
</file>

<file path=ppt/theme/theme1.xml><?xml version="1.0" encoding="utf-8"?>
<a:theme xmlns:a="http://schemas.openxmlformats.org/drawingml/2006/main" name="1_HDOfficeLightV0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627</TotalTime>
  <Words>631</Words>
  <Application>Microsoft Office PowerPoint</Application>
  <PresentationFormat>Широкоэкранный</PresentationFormat>
  <Paragraphs>197</Paragraphs>
  <Slides>14</Slides>
  <Notes>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25" baseType="lpstr">
      <vt:lpstr>Arial</vt:lpstr>
      <vt:lpstr>Calibri</vt:lpstr>
      <vt:lpstr>Calibri (Основной текст)</vt:lpstr>
      <vt:lpstr>Calibri Light</vt:lpstr>
      <vt:lpstr>Century Gothic</vt:lpstr>
      <vt:lpstr>Tahoma</vt:lpstr>
      <vt:lpstr>Times New Roman</vt:lpstr>
      <vt:lpstr>Wingdings</vt:lpstr>
      <vt:lpstr>Wingdings 2</vt:lpstr>
      <vt:lpstr>1_HDOfficeLightV0</vt:lpstr>
      <vt:lpstr>Ofis Teması</vt:lpstr>
      <vt:lpstr>Презентация PowerPoint</vt:lpstr>
      <vt:lpstr>Независимая Оценка на сертификацию и  квалификационную категорию в Казахстане </vt:lpstr>
      <vt:lpstr>Презентация PowerPoint</vt:lpstr>
      <vt:lpstr>Презентация PowerPoint</vt:lpstr>
      <vt:lpstr>Презентация PowerPoint</vt:lpstr>
      <vt:lpstr>Презентация PowerPoint</vt:lpstr>
      <vt:lpstr> Процедура оценки на сертификацию и на соответствие категории  </vt:lpstr>
      <vt:lpstr>Сравнительные данные по категорированности специалистов РК  со средним медицинским (профессиональным) образованием  2017 год </vt:lpstr>
      <vt:lpstr> Итоги оценки подтверждения соответствия квалификации специалистов со средним медицинским (профессиональным) образованием</vt:lpstr>
      <vt:lpstr> Итоги оценки профессиональной подготовленности специалистов  со средним медицинским (профессиональным) образованием    </vt:lpstr>
      <vt:lpstr>Презентация PowerPoint</vt:lpstr>
      <vt:lpstr>Сертификационный экзамен (проект) (Оценка соответствия квалификации) 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мисбекова Гульнара Сериковна</dc:creator>
  <cp:lastModifiedBy>Кумисбекова Гульнара Сериковна</cp:lastModifiedBy>
  <cp:revision>237</cp:revision>
  <dcterms:created xsi:type="dcterms:W3CDTF">2018-05-23T04:33:05Z</dcterms:created>
  <dcterms:modified xsi:type="dcterms:W3CDTF">2018-06-22T06:52:44Z</dcterms:modified>
</cp:coreProperties>
</file>